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11"/>
  </p:notesMasterIdLst>
  <p:sldIdLst>
    <p:sldId id="257" r:id="rId5"/>
    <p:sldId id="288" r:id="rId6"/>
    <p:sldId id="291" r:id="rId7"/>
    <p:sldId id="271" r:id="rId8"/>
    <p:sldId id="292" r:id="rId9"/>
    <p:sldId id="293" r:id="rId10"/>
  </p:sldIdLst>
  <p:sldSz cx="12192000" cy="6858000"/>
  <p:notesSz cx="6858000" cy="9144000"/>
  <p:embeddedFontLst>
    <p:embeddedFont>
      <p:font typeface="Calibri" panose="020F0502020204030204" pitchFamily="34" charset="0"/>
      <p:regular r:id="rId12"/>
      <p:bold r:id="rId13"/>
      <p:italic r:id="rId14"/>
      <p:boldItalic r:id="rId15"/>
    </p:embeddedFont>
    <p:embeddedFont>
      <p:font typeface="Whyte Book" panose="020B0004050101020103" pitchFamily="34" charset="0"/>
      <p:regular r:id="rId16"/>
      <p:italic r:id="rId17"/>
    </p:embeddedFont>
    <p:embeddedFont>
      <p:font typeface="Whyte Medium" panose="020B0004050101020103" pitchFamily="34" charset="0"/>
      <p:regular r:id="rId18"/>
      <p:italic r:id="rId19"/>
    </p:embeddedFont>
  </p:embeddedFontLst>
  <p:custDataLst>
    <p:tags r:id="rId20"/>
  </p:custDataLst>
  <p:defaultTextStyle>
    <a:defPPr>
      <a:defRPr lang="nb-NO"/>
    </a:defPPr>
    <a:lvl1pPr marL="0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2D4DB"/>
    <a:srgbClr val="0A2136"/>
    <a:srgbClr val="092036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ddels sti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120" d="100"/>
          <a:sy n="120" d="100"/>
        </p:scale>
        <p:origin x="57" y="123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2" d="100"/>
          <a:sy n="92" d="100"/>
        </p:scale>
        <p:origin x="4042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" Type="http://schemas.openxmlformats.org/officeDocument/2006/relationships/customXml" Target="../customXml/item2.xml"/><Relationship Id="rId16" Type="http://schemas.openxmlformats.org/officeDocument/2006/relationships/font" Target="fonts/font5.fntdata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font" Target="fonts/font4.fntdata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font" Target="fonts/font8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font" Target="fonts/font3.fntdata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A924EE-076D-4551-850A-2C890BC2CD36}" type="datetimeFigureOut">
              <a:rPr lang="nb-NO" smtClean="0"/>
              <a:t>23.06.2021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A1CDBE-4748-4E6F-9ED0-0A2934EF90E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4990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4.emf"/><Relationship Id="rId5" Type="http://schemas.openxmlformats.org/officeDocument/2006/relationships/image" Target="../media/image8.emf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>
            <a:extLst>
              <a:ext uri="{FF2B5EF4-FFF2-40B4-BE49-F238E27FC236}">
                <a16:creationId xmlns:a16="http://schemas.microsoft.com/office/drawing/2014/main" id="{1F522C59-3A81-43AC-914C-BD94B2B92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2345256"/>
            <a:ext cx="4795888" cy="136718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pic>
        <p:nvPicPr>
          <p:cNvPr id="7" name="Bilde 5">
            <a:extLst>
              <a:ext uri="{FF2B5EF4-FFF2-40B4-BE49-F238E27FC236}">
                <a16:creationId xmlns:a16="http://schemas.microsoft.com/office/drawing/2014/main" id="{0700BF97-D0FF-324C-BA73-4BD679FE98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0800" y="6144843"/>
            <a:ext cx="974166" cy="270849"/>
          </a:xfrm>
          <a:prstGeom prst="rect">
            <a:avLst/>
          </a:prstGeom>
        </p:spPr>
      </p:pic>
      <p:sp>
        <p:nvSpPr>
          <p:cNvPr id="9" name="Plassholder for bilde 9">
            <a:extLst>
              <a:ext uri="{FF2B5EF4-FFF2-40B4-BE49-F238E27FC236}">
                <a16:creationId xmlns:a16="http://schemas.microsoft.com/office/drawing/2014/main" id="{C6B9DCFC-3D3C-CB40-94A0-FC0AB19858C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6858000"/>
          </a:xfrm>
          <a:noFill/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1" name="Plassholder for tekst 11">
            <a:extLst>
              <a:ext uri="{FF2B5EF4-FFF2-40B4-BE49-F238E27FC236}">
                <a16:creationId xmlns:a16="http://schemas.microsoft.com/office/drawing/2014/main" id="{9AEE6B54-7D04-9E49-BB8A-E09ED89DA4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150" y="3871467"/>
            <a:ext cx="4802238" cy="246221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 err="1"/>
              <a:t>Description</a:t>
            </a:r>
            <a:endParaRPr lang="nb-NO" dirty="0"/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30CCACEE-41C7-EB40-A0DD-B2EA684EEE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1" t="31991" r="8582" b="31662"/>
          <a:stretch/>
        </p:blipFill>
        <p:spPr>
          <a:xfrm>
            <a:off x="450799" y="442308"/>
            <a:ext cx="2183071" cy="273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4064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182EAE-F337-4800-8BF8-2701532E29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182EAE-F337-4800-8BF8-2701532E29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9F6771C-8969-48A2-A44F-C9748E8951A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3600" b="0" i="0" baseline="0" dirty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66F3A52F-9DAA-489E-9591-4945212199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11277650" cy="553998"/>
          </a:xfrm>
        </p:spPr>
        <p:txBody>
          <a:bodyPr/>
          <a:lstStyle>
            <a:lvl1pPr>
              <a:defRPr sz="3600" baseline="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8" name="Plassholder for lysbildenummer 2">
            <a:extLst>
              <a:ext uri="{FF2B5EF4-FFF2-40B4-BE49-F238E27FC236}">
                <a16:creationId xmlns:a16="http://schemas.microsoft.com/office/drawing/2014/main" id="{1F5F9837-BF24-4014-9A0B-3297935B415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332948" y="6574955"/>
            <a:ext cx="2743200" cy="11541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4DBFC4DE-0385-457B-A347-3EDAF40F3AB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80338" y="6568811"/>
            <a:ext cx="554462" cy="154208"/>
          </a:xfrm>
          <a:prstGeom prst="rect">
            <a:avLst/>
          </a:prstGeom>
        </p:spPr>
      </p:pic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DDB8FD49-F008-5F4A-A4B8-34C308BEC7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1" t="31991" r="8582" b="31662"/>
          <a:stretch/>
        </p:blipFill>
        <p:spPr>
          <a:xfrm>
            <a:off x="457151" y="6563383"/>
            <a:ext cx="1232502" cy="154303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ECD7473-55E8-6548-9E9E-EFEBD28AB07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16119" y="6574955"/>
            <a:ext cx="3606850" cy="115416"/>
          </a:xfrm>
        </p:spPr>
        <p:txBody>
          <a:bodyPr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rgbClr val="F7F7F7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source (optional)</a:t>
            </a:r>
          </a:p>
        </p:txBody>
      </p:sp>
    </p:spTree>
    <p:extLst>
      <p:ext uri="{BB962C8B-B14F-4D97-AF65-F5344CB8AC3E}">
        <p14:creationId xmlns:p14="http://schemas.microsoft.com/office/powerpoint/2010/main" val="2985441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6A3DEE-43DD-457F-94DF-BC3CF26E46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151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6A3DEE-43DD-457F-94DF-BC3CF26E46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F220F9-88E8-4EE0-8911-8B3392573E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 dirty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150" y="1364975"/>
            <a:ext cx="11277650" cy="482472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569913" indent="-173038">
              <a:defRPr sz="1600"/>
            </a:lvl3pPr>
            <a:lvl4pPr marL="688975" indent="-119063">
              <a:defRPr sz="1600"/>
            </a:lvl4pPr>
            <a:lvl5pPr marL="801688" indent="-112713"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6B8EFCC5-A6D2-40C0-945F-7226E63ADA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394E476-A8D8-4FFE-B7D4-24E8E1DB7C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41352"/>
            <a:ext cx="11277650" cy="553998"/>
          </a:xfrm>
        </p:spPr>
        <p:txBody>
          <a:bodyPr/>
          <a:lstStyle>
            <a:lvl1pPr>
              <a:defRPr sz="3600" baseline="0"/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141F2E7B-DE28-0D43-92C7-2EBBDDFB95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2" t="33663" r="9051" b="33591"/>
          <a:stretch/>
        </p:blipFill>
        <p:spPr>
          <a:xfrm>
            <a:off x="457150" y="6579002"/>
            <a:ext cx="1203097" cy="135232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C7C30889-9048-6D4A-A036-FF746F32C0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16119" y="6574955"/>
            <a:ext cx="3606850" cy="115416"/>
          </a:xfrm>
        </p:spPr>
        <p:txBody>
          <a:bodyPr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rgbClr val="092036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source (optional)</a:t>
            </a:r>
          </a:p>
        </p:txBody>
      </p:sp>
    </p:spTree>
    <p:extLst>
      <p:ext uri="{BB962C8B-B14F-4D97-AF65-F5344CB8AC3E}">
        <p14:creationId xmlns:p14="http://schemas.microsoft.com/office/powerpoint/2010/main" val="22125582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oxes - Brigh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FA15631-6B1D-4826-95E6-A1055FF69F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3698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1" imgH="631" progId="TCLayout.ActiveDocument.1">
                  <p:embed/>
                </p:oleObj>
              </mc:Choice>
              <mc:Fallback>
                <p:oleObj name="think-cell Slide" r:id="rId3" imgW="631" imgH="6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FA15631-6B1D-4826-95E6-A1055FF69F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150" y="1431235"/>
            <a:ext cx="5372910" cy="490993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217926" y="1431235"/>
            <a:ext cx="5372910" cy="490993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B39C7A68-804B-4598-BF2F-8E2AC24717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50" y="302592"/>
            <a:ext cx="11133686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888AB21A-9DDA-4C7A-A318-3DF181C595C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43548966-9D29-1344-A7E1-D8A75E6755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2" t="33663" r="9051" b="33591"/>
          <a:stretch/>
        </p:blipFill>
        <p:spPr>
          <a:xfrm>
            <a:off x="457150" y="6579002"/>
            <a:ext cx="1203097" cy="135232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CE8D9B8B-328F-BD40-86FB-98DD2574BD1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16119" y="6574955"/>
            <a:ext cx="3606850" cy="115416"/>
          </a:xfrm>
        </p:spPr>
        <p:txBody>
          <a:bodyPr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rgbClr val="092036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source (optional)</a:t>
            </a:r>
          </a:p>
        </p:txBody>
      </p:sp>
    </p:spTree>
    <p:extLst>
      <p:ext uri="{BB962C8B-B14F-4D97-AF65-F5344CB8AC3E}">
        <p14:creationId xmlns:p14="http://schemas.microsoft.com/office/powerpoint/2010/main" val="32132744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boxes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118934C-3F25-4870-9524-B7A6F6AB67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898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1" imgH="631" progId="TCLayout.ActiveDocument.1">
                  <p:embed/>
                </p:oleObj>
              </mc:Choice>
              <mc:Fallback>
                <p:oleObj name="think-cell Slide" r:id="rId3" imgW="631" imgH="63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118934C-3F25-4870-9524-B7A6F6AB67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46C1EDBE-5957-413E-9442-4D8A74E5FC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50" y="1448257"/>
            <a:ext cx="5372910" cy="4561603"/>
          </a:xfrm>
        </p:spPr>
        <p:txBody>
          <a:bodyPr/>
          <a:lstStyle>
            <a:lvl1pPr marL="179423" indent="-179423">
              <a:buFontTx/>
              <a:buBlip>
                <a:blip r:embed="rId5"/>
              </a:buBlip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1" name="Plassholder for innhold 3">
            <a:extLst>
              <a:ext uri="{FF2B5EF4-FFF2-40B4-BE49-F238E27FC236}">
                <a16:creationId xmlns:a16="http://schemas.microsoft.com/office/drawing/2014/main" id="{DC053F2A-16F7-4797-A1AE-5B922C5381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17926" y="1448257"/>
            <a:ext cx="5372910" cy="4561603"/>
          </a:xfrm>
        </p:spPr>
        <p:txBody>
          <a:bodyPr/>
          <a:lstStyle>
            <a:lvl1pPr marL="179423" indent="-179423">
              <a:buFontTx/>
              <a:buBlip>
                <a:blip r:embed="rId5"/>
              </a:buBlip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4" name="Tittel 4">
            <a:extLst>
              <a:ext uri="{FF2B5EF4-FFF2-40B4-BE49-F238E27FC236}">
                <a16:creationId xmlns:a16="http://schemas.microsoft.com/office/drawing/2014/main" id="{FD47B67E-D14A-4D94-A27C-27B13604C3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50" y="302592"/>
            <a:ext cx="11133686" cy="654153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1EB2CE70-4869-4948-A3C0-E100C175FC6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0">
            <a:extLst>
              <a:ext uri="{FF2B5EF4-FFF2-40B4-BE49-F238E27FC236}">
                <a16:creationId xmlns:a16="http://schemas.microsoft.com/office/drawing/2014/main" id="{D6D91EC8-9B16-4A7E-9EEF-F995944F901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80338" y="6555559"/>
            <a:ext cx="554462" cy="154208"/>
          </a:xfrm>
          <a:prstGeom prst="rect">
            <a:avLst/>
          </a:prstGeom>
        </p:spPr>
      </p:pic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ECAAD5A0-5418-5642-8DF2-777E388211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1" t="31991" r="8582" b="31662"/>
          <a:stretch/>
        </p:blipFill>
        <p:spPr>
          <a:xfrm>
            <a:off x="457151" y="6563383"/>
            <a:ext cx="1232502" cy="154303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F92758C-F30C-9A40-BD57-DA9359703A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16119" y="6574955"/>
            <a:ext cx="3606850" cy="115416"/>
          </a:xfrm>
        </p:spPr>
        <p:txBody>
          <a:bodyPr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rgbClr val="F7F7F7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source (optional)</a:t>
            </a:r>
          </a:p>
        </p:txBody>
      </p:sp>
    </p:spTree>
    <p:extLst>
      <p:ext uri="{BB962C8B-B14F-4D97-AF65-F5344CB8AC3E}">
        <p14:creationId xmlns:p14="http://schemas.microsoft.com/office/powerpoint/2010/main" val="38643243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oxes - Bright/Dark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778072-7C65-455A-8F4E-E71B79D554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10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778072-7C65-455A-8F4E-E71B79D554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0504522-E0BC-4216-9344-E4C7D08D6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3600" b="0" i="0" baseline="0" dirty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4E80FE1-2276-4EDD-A929-5AD6014EC5DB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150" y="1698055"/>
            <a:ext cx="5372910" cy="13423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69E5858A-DF8E-4280-8B0E-BA6B18977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5372910" cy="1107996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7DFE4715-C6D8-4067-8414-CBA951A13A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150" y="1428750"/>
            <a:ext cx="5372910" cy="26930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>
                <a:latin typeface="+mj-lt"/>
              </a:defRPr>
            </a:lvl1pPr>
          </a:lstStyle>
          <a:p>
            <a:pPr lvl="0"/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733CF25-C19B-45BC-A867-F20BD8B066EC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457627" y="3756409"/>
            <a:ext cx="5372910" cy="13423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7" name="Plassholder for tekst 8">
            <a:extLst>
              <a:ext uri="{FF2B5EF4-FFF2-40B4-BE49-F238E27FC236}">
                <a16:creationId xmlns:a16="http://schemas.microsoft.com/office/drawing/2014/main" id="{2462AC98-4ACB-4E3B-A7A3-4A47C0C883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627" y="3487104"/>
            <a:ext cx="5372910" cy="26930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>
                <a:latin typeface="+mj-lt"/>
              </a:defRPr>
            </a:lvl1pPr>
          </a:lstStyle>
          <a:p>
            <a:pPr lvl="0"/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18" name="Plassholder for innhold 2">
            <a:extLst>
              <a:ext uri="{FF2B5EF4-FFF2-40B4-BE49-F238E27FC236}">
                <a16:creationId xmlns:a16="http://schemas.microsoft.com/office/drawing/2014/main" id="{3DAF8BFD-3CB0-4BCC-9AA2-505F4513E1DF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552445" y="1698055"/>
            <a:ext cx="5372910" cy="1342326"/>
          </a:xfrm>
        </p:spPr>
        <p:txBody>
          <a:bodyPr/>
          <a:lstStyle>
            <a:lvl1pPr marL="179423" indent="-179423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9" name="Plassholder for tekst 8">
            <a:extLst>
              <a:ext uri="{FF2B5EF4-FFF2-40B4-BE49-F238E27FC236}">
                <a16:creationId xmlns:a16="http://schemas.microsoft.com/office/drawing/2014/main" id="{6AED98B6-7B48-4946-AA1A-3B26A4B04D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52445" y="1428750"/>
            <a:ext cx="537291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20" name="Plassholder for innhold 2">
            <a:extLst>
              <a:ext uri="{FF2B5EF4-FFF2-40B4-BE49-F238E27FC236}">
                <a16:creationId xmlns:a16="http://schemas.microsoft.com/office/drawing/2014/main" id="{AF3AB3CA-FEFD-4085-A8E3-EF8B80CC5D0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552922" y="3756409"/>
            <a:ext cx="5372910" cy="1342326"/>
          </a:xfrm>
        </p:spPr>
        <p:txBody>
          <a:bodyPr/>
          <a:lstStyle>
            <a:lvl1pPr marL="179423" indent="-179423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21" name="Plassholder for tekst 8">
            <a:extLst>
              <a:ext uri="{FF2B5EF4-FFF2-40B4-BE49-F238E27FC236}">
                <a16:creationId xmlns:a16="http://schemas.microsoft.com/office/drawing/2014/main" id="{0B63DA4B-15C1-4275-83C9-71098EADC5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2922" y="3487104"/>
            <a:ext cx="537291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24" name="Plassholder for lysbildenummer 3">
            <a:extLst>
              <a:ext uri="{FF2B5EF4-FFF2-40B4-BE49-F238E27FC236}">
                <a16:creationId xmlns:a16="http://schemas.microsoft.com/office/drawing/2014/main" id="{180356DA-06CB-4D8A-9325-CACD64AC832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364509" y="6574955"/>
            <a:ext cx="2743200" cy="11541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25" name="Bilde 10">
            <a:extLst>
              <a:ext uri="{FF2B5EF4-FFF2-40B4-BE49-F238E27FC236}">
                <a16:creationId xmlns:a16="http://schemas.microsoft.com/office/drawing/2014/main" id="{2B337082-6FD7-4C18-B527-A3FE6D52E72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80338" y="6555559"/>
            <a:ext cx="554462" cy="154208"/>
          </a:xfrm>
          <a:prstGeom prst="rect">
            <a:avLst/>
          </a:prstGeom>
        </p:spPr>
      </p:pic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745BCF64-654B-6248-BB35-FA9FE459DB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216119" y="6574955"/>
            <a:ext cx="3606850" cy="115416"/>
          </a:xfrm>
        </p:spPr>
        <p:txBody>
          <a:bodyPr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rgbClr val="092036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source (optional)</a:t>
            </a:r>
          </a:p>
        </p:txBody>
      </p:sp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78E7702C-A753-1F4C-9074-08D586764F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2" t="33663" r="9051" b="33591"/>
          <a:stretch/>
        </p:blipFill>
        <p:spPr>
          <a:xfrm>
            <a:off x="457150" y="6579002"/>
            <a:ext cx="1203097" cy="135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0328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/ picture (4) - Brigh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79F0C73-0561-4129-A04B-2E0A6857AC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0178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79F0C73-0561-4129-A04B-2E0A6857AC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1709954-4CEF-43B0-B1BE-3EA8418149B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3600" b="0" i="0" baseline="0" dirty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6" name="Plassholder for tekst 1">
            <a:extLst>
              <a:ext uri="{FF2B5EF4-FFF2-40B4-BE49-F238E27FC236}">
                <a16:creationId xmlns:a16="http://schemas.microsoft.com/office/drawing/2014/main" id="{223B0A73-7E99-4625-99E9-1F77FB89FB3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150" y="2743278"/>
            <a:ext cx="2344472" cy="5386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/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lassholder for tekst 1">
            <a:extLst>
              <a:ext uri="{FF2B5EF4-FFF2-40B4-BE49-F238E27FC236}">
                <a16:creationId xmlns:a16="http://schemas.microsoft.com/office/drawing/2014/main" id="{BD018570-2E38-4E9E-809E-4BB30EEF84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150" y="2475156"/>
            <a:ext cx="2344472" cy="2693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75BEC30E-A550-4021-A789-31816EFB36B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57150" y="1502981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/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18" name="Plassholder for tekst 1">
            <a:extLst>
              <a:ext uri="{FF2B5EF4-FFF2-40B4-BE49-F238E27FC236}">
                <a16:creationId xmlns:a16="http://schemas.microsoft.com/office/drawing/2014/main" id="{083646AA-5679-4BDB-8279-D5C7B0714B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53127" y="2743278"/>
            <a:ext cx="2344472" cy="5386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/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lassholder for tekst 1">
            <a:extLst>
              <a:ext uri="{FF2B5EF4-FFF2-40B4-BE49-F238E27FC236}">
                <a16:creationId xmlns:a16="http://schemas.microsoft.com/office/drawing/2014/main" id="{641F089D-87F6-4790-9972-F56DDD2B6B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53127" y="2475156"/>
            <a:ext cx="2344472" cy="2693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20" name="Plassholder for bilde 9">
            <a:extLst>
              <a:ext uri="{FF2B5EF4-FFF2-40B4-BE49-F238E27FC236}">
                <a16:creationId xmlns:a16="http://schemas.microsoft.com/office/drawing/2014/main" id="{19B659F3-3C6D-4EC3-A091-CD365C7871A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53127" y="1502981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/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21" name="Plassholder for tekst 1">
            <a:extLst>
              <a:ext uri="{FF2B5EF4-FFF2-40B4-BE49-F238E27FC236}">
                <a16:creationId xmlns:a16="http://schemas.microsoft.com/office/drawing/2014/main" id="{D2C47F8E-7A26-452E-9B29-3D12660FAB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10999" y="2743278"/>
            <a:ext cx="2344472" cy="5386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/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Plassholder for tekst 1">
            <a:extLst>
              <a:ext uri="{FF2B5EF4-FFF2-40B4-BE49-F238E27FC236}">
                <a16:creationId xmlns:a16="http://schemas.microsoft.com/office/drawing/2014/main" id="{80A02BC2-74F5-4A42-9BF1-B2BFDF9398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0999" y="2475156"/>
            <a:ext cx="2344472" cy="2693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23" name="Plassholder for bilde 9">
            <a:extLst>
              <a:ext uri="{FF2B5EF4-FFF2-40B4-BE49-F238E27FC236}">
                <a16:creationId xmlns:a16="http://schemas.microsoft.com/office/drawing/2014/main" id="{06BB5B72-9229-42F0-A094-3C60C2D144A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0999" y="1502981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/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24" name="Plassholder for tekst 1">
            <a:extLst>
              <a:ext uri="{FF2B5EF4-FFF2-40B4-BE49-F238E27FC236}">
                <a16:creationId xmlns:a16="http://schemas.microsoft.com/office/drawing/2014/main" id="{18B459D2-AFE0-4D41-967F-6C37DBCFB58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82908" y="2743278"/>
            <a:ext cx="2344472" cy="5386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/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lassholder for tekst 1">
            <a:extLst>
              <a:ext uri="{FF2B5EF4-FFF2-40B4-BE49-F238E27FC236}">
                <a16:creationId xmlns:a16="http://schemas.microsoft.com/office/drawing/2014/main" id="{F06C3112-AF81-46B7-A61E-77FE068DC8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82908" y="2475156"/>
            <a:ext cx="2344472" cy="2693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26" name="Plassholder for bilde 9">
            <a:extLst>
              <a:ext uri="{FF2B5EF4-FFF2-40B4-BE49-F238E27FC236}">
                <a16:creationId xmlns:a16="http://schemas.microsoft.com/office/drawing/2014/main" id="{8F4BBD59-5366-450F-91F7-AE6F04E17BA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082908" y="1502981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/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3C02D755-F5F4-4401-A7A3-6EA94407C06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59AD39D6-F0E2-4273-B83F-F4644A7B92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11277650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pic>
        <p:nvPicPr>
          <p:cNvPr id="27" name="Picture 26" descr="Logo&#10;&#10;Description automatically generated">
            <a:extLst>
              <a:ext uri="{FF2B5EF4-FFF2-40B4-BE49-F238E27FC236}">
                <a16:creationId xmlns:a16="http://schemas.microsoft.com/office/drawing/2014/main" id="{31E7E9AD-DD10-7C45-A50C-7F3064A16F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2" t="33663" r="9051" b="33591"/>
          <a:stretch/>
        </p:blipFill>
        <p:spPr>
          <a:xfrm>
            <a:off x="457150" y="6579002"/>
            <a:ext cx="1203097" cy="135232"/>
          </a:xfrm>
          <a:prstGeom prst="rect">
            <a:avLst/>
          </a:prstGeom>
        </p:spPr>
      </p:pic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3531A8AF-008B-B440-90C1-42B32760EA0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16119" y="6574955"/>
            <a:ext cx="3606850" cy="115416"/>
          </a:xfrm>
        </p:spPr>
        <p:txBody>
          <a:bodyPr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rgbClr val="092036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source (optional)</a:t>
            </a:r>
          </a:p>
        </p:txBody>
      </p:sp>
    </p:spTree>
    <p:extLst>
      <p:ext uri="{BB962C8B-B14F-4D97-AF65-F5344CB8AC3E}">
        <p14:creationId xmlns:p14="http://schemas.microsoft.com/office/powerpoint/2010/main" val="11579187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w/ picture (4)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0C6D0D-BEEB-4AB6-B7BB-EA2DDE11F3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6682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0C6D0D-BEEB-4AB6-B7BB-EA2DDE11F3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CBD752-0A70-44E0-B0F6-33812D2103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3600" b="0" i="0" baseline="0" dirty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17" name="Plassholder for tekst 1">
            <a:extLst>
              <a:ext uri="{FF2B5EF4-FFF2-40B4-BE49-F238E27FC236}">
                <a16:creationId xmlns:a16="http://schemas.microsoft.com/office/drawing/2014/main" id="{12BE598A-3A59-48AE-8779-0D3482F39B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150" y="2743278"/>
            <a:ext cx="23444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lassholder for tekst 1">
            <a:extLst>
              <a:ext uri="{FF2B5EF4-FFF2-40B4-BE49-F238E27FC236}">
                <a16:creationId xmlns:a16="http://schemas.microsoft.com/office/drawing/2014/main" id="{500FE8A3-8D44-47A9-9DAC-2E9CEEAF73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150" y="2475156"/>
            <a:ext cx="23444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4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28" name="Plassholder for bilde 9">
            <a:extLst>
              <a:ext uri="{FF2B5EF4-FFF2-40B4-BE49-F238E27FC236}">
                <a16:creationId xmlns:a16="http://schemas.microsoft.com/office/drawing/2014/main" id="{7B69421B-2715-418F-8E7E-5F5199BF424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57150" y="1502981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29" name="Plassholder for tekst 1">
            <a:extLst>
              <a:ext uri="{FF2B5EF4-FFF2-40B4-BE49-F238E27FC236}">
                <a16:creationId xmlns:a16="http://schemas.microsoft.com/office/drawing/2014/main" id="{766220CC-9B0B-4B52-9122-227742493C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53127" y="2743278"/>
            <a:ext cx="23444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lassholder for tekst 1">
            <a:extLst>
              <a:ext uri="{FF2B5EF4-FFF2-40B4-BE49-F238E27FC236}">
                <a16:creationId xmlns:a16="http://schemas.microsoft.com/office/drawing/2014/main" id="{2505CFCD-EC9D-4BE3-B88F-E2DFD01E73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53127" y="2475156"/>
            <a:ext cx="23444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4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31" name="Plassholder for bilde 9">
            <a:extLst>
              <a:ext uri="{FF2B5EF4-FFF2-40B4-BE49-F238E27FC236}">
                <a16:creationId xmlns:a16="http://schemas.microsoft.com/office/drawing/2014/main" id="{F849C1C4-A5A3-4C06-9B48-D851E7343C7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53127" y="1502981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32" name="Plassholder for tekst 1">
            <a:extLst>
              <a:ext uri="{FF2B5EF4-FFF2-40B4-BE49-F238E27FC236}">
                <a16:creationId xmlns:a16="http://schemas.microsoft.com/office/drawing/2014/main" id="{C480614B-E0A4-4AF1-A071-D5A6DA6ADBA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10999" y="2743278"/>
            <a:ext cx="23444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Plassholder for tekst 1">
            <a:extLst>
              <a:ext uri="{FF2B5EF4-FFF2-40B4-BE49-F238E27FC236}">
                <a16:creationId xmlns:a16="http://schemas.microsoft.com/office/drawing/2014/main" id="{A5A77845-A174-4A16-B3E8-145FC2BA29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0999" y="2475156"/>
            <a:ext cx="23444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4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34" name="Plassholder for bilde 9">
            <a:extLst>
              <a:ext uri="{FF2B5EF4-FFF2-40B4-BE49-F238E27FC236}">
                <a16:creationId xmlns:a16="http://schemas.microsoft.com/office/drawing/2014/main" id="{D407E114-A348-4BAB-A545-63B11F7200A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0999" y="1502981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35" name="Plassholder for tekst 1">
            <a:extLst>
              <a:ext uri="{FF2B5EF4-FFF2-40B4-BE49-F238E27FC236}">
                <a16:creationId xmlns:a16="http://schemas.microsoft.com/office/drawing/2014/main" id="{78D8894D-2BC6-41C6-984A-377433FD828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82908" y="2743278"/>
            <a:ext cx="23444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lassholder for tekst 1">
            <a:extLst>
              <a:ext uri="{FF2B5EF4-FFF2-40B4-BE49-F238E27FC236}">
                <a16:creationId xmlns:a16="http://schemas.microsoft.com/office/drawing/2014/main" id="{68B559E6-2576-4D6F-9D18-74A3615679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82908" y="2475156"/>
            <a:ext cx="23444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solidFill>
                  <a:schemeClr val="accent4"/>
                </a:solidFill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37" name="Plassholder for bilde 9">
            <a:extLst>
              <a:ext uri="{FF2B5EF4-FFF2-40B4-BE49-F238E27FC236}">
                <a16:creationId xmlns:a16="http://schemas.microsoft.com/office/drawing/2014/main" id="{D0DB93B8-F9CE-4D9F-8D6E-C4139BCA8DA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082908" y="1502981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39" name="Plassholder for lysbildenummer 2">
            <a:extLst>
              <a:ext uri="{FF2B5EF4-FFF2-40B4-BE49-F238E27FC236}">
                <a16:creationId xmlns:a16="http://schemas.microsoft.com/office/drawing/2014/main" id="{25F2DC1F-FFC2-4B46-9DBE-9B6D381B2B2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332948" y="6574955"/>
            <a:ext cx="2743200" cy="11541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0" name="Tittel 3">
            <a:extLst>
              <a:ext uri="{FF2B5EF4-FFF2-40B4-BE49-F238E27FC236}">
                <a16:creationId xmlns:a16="http://schemas.microsoft.com/office/drawing/2014/main" id="{2FD45B49-B78F-465D-9A62-619F40BFF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11277650" cy="553998"/>
          </a:xfrm>
        </p:spPr>
        <p:txBody>
          <a:bodyPr/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pic>
        <p:nvPicPr>
          <p:cNvPr id="18" name="Bilde 10">
            <a:extLst>
              <a:ext uri="{FF2B5EF4-FFF2-40B4-BE49-F238E27FC236}">
                <a16:creationId xmlns:a16="http://schemas.microsoft.com/office/drawing/2014/main" id="{9B79105C-AC6F-4301-A4B8-8CC59404586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80338" y="6555559"/>
            <a:ext cx="554462" cy="154208"/>
          </a:xfrm>
          <a:prstGeom prst="rect">
            <a:avLst/>
          </a:prstGeom>
        </p:spPr>
      </p:pic>
      <p:pic>
        <p:nvPicPr>
          <p:cNvPr id="23" name="Picture 22" descr="Logo&#10;&#10;Description automatically generated">
            <a:extLst>
              <a:ext uri="{FF2B5EF4-FFF2-40B4-BE49-F238E27FC236}">
                <a16:creationId xmlns:a16="http://schemas.microsoft.com/office/drawing/2014/main" id="{173F8E05-B87B-A545-93E5-9F5A25969A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1" t="31991" r="8582" b="31662"/>
          <a:stretch/>
        </p:blipFill>
        <p:spPr>
          <a:xfrm>
            <a:off x="457151" y="6563383"/>
            <a:ext cx="1232502" cy="154303"/>
          </a:xfrm>
          <a:prstGeom prst="rect">
            <a:avLst/>
          </a:prstGeom>
        </p:spPr>
      </p:pic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3F5E0365-83EB-CE42-B9F8-5DE583817E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16119" y="6574955"/>
            <a:ext cx="3606850" cy="115416"/>
          </a:xfrm>
        </p:spPr>
        <p:txBody>
          <a:bodyPr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rgbClr val="F7F7F7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source (optional)</a:t>
            </a:r>
          </a:p>
        </p:txBody>
      </p:sp>
    </p:spTree>
    <p:extLst>
      <p:ext uri="{BB962C8B-B14F-4D97-AF65-F5344CB8AC3E}">
        <p14:creationId xmlns:p14="http://schemas.microsoft.com/office/powerpoint/2010/main" val="13166587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09C2AA6-C0E4-4FF3-92C6-F5592B5877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695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1" imgH="631" progId="TCLayout.ActiveDocument.1">
                  <p:embed/>
                </p:oleObj>
              </mc:Choice>
              <mc:Fallback>
                <p:oleObj name="think-cell Slide" r:id="rId3" imgW="631" imgH="6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09C2AA6-C0E4-4FF3-92C6-F5592B5877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57968" y="2289175"/>
            <a:ext cx="5751563" cy="654101"/>
          </a:xfrm>
          <a:noFill/>
        </p:spPr>
        <p:txBody>
          <a:bodyPr wrap="square" anchor="b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Quote</a:t>
            </a:r>
            <a:endParaRPr lang="nb-NO" dirty="0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7731585A-DC2B-4AE1-B0C2-9A76B39E28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58" y="3485880"/>
            <a:ext cx="3606741" cy="246221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b-NO" dirty="0" err="1"/>
              <a:t>Name</a:t>
            </a:r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EBDFD395-033C-4C11-933D-962EAECD7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10">
            <a:extLst>
              <a:ext uri="{FF2B5EF4-FFF2-40B4-BE49-F238E27FC236}">
                <a16:creationId xmlns:a16="http://schemas.microsoft.com/office/drawing/2014/main" id="{A0F75431-839D-4B28-AA4A-51CA9258157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80338" y="6555559"/>
            <a:ext cx="554462" cy="154208"/>
          </a:xfrm>
          <a:prstGeom prst="rect">
            <a:avLst/>
          </a:prstGeom>
        </p:spPr>
      </p:pic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CFBD5388-0A22-E844-86C3-7A4ED51609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1" t="31991" r="8582" b="31662"/>
          <a:stretch/>
        </p:blipFill>
        <p:spPr>
          <a:xfrm>
            <a:off x="457151" y="6563383"/>
            <a:ext cx="1232502" cy="154303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D3D3789-1E81-0C47-9B03-2C03A7BD36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16119" y="6574955"/>
            <a:ext cx="3606850" cy="115416"/>
          </a:xfrm>
        </p:spPr>
        <p:txBody>
          <a:bodyPr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rgbClr val="F7F7F7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source (optional)</a:t>
            </a:r>
          </a:p>
        </p:txBody>
      </p:sp>
    </p:spTree>
    <p:extLst>
      <p:ext uri="{BB962C8B-B14F-4D97-AF65-F5344CB8AC3E}">
        <p14:creationId xmlns:p14="http://schemas.microsoft.com/office/powerpoint/2010/main" val="7689743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eperator - White o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3840241" y="2698690"/>
            <a:ext cx="4511518" cy="1308202"/>
          </a:xfrm>
        </p:spPr>
        <p:txBody>
          <a:bodyPr wrap="square" anchor="ctr" anchorCtr="0">
            <a:sp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parator slide title area</a:t>
            </a:r>
            <a:endParaRPr lang="nb-NO" dirty="0"/>
          </a:p>
        </p:txBody>
      </p:sp>
      <p:pic>
        <p:nvPicPr>
          <p:cNvPr id="8" name="Bilde 5">
            <a:extLst>
              <a:ext uri="{FF2B5EF4-FFF2-40B4-BE49-F238E27FC236}">
                <a16:creationId xmlns:a16="http://schemas.microsoft.com/office/drawing/2014/main" id="{3177F54D-4EBE-4382-A5DC-8C0AD33A3C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60684" y="6144843"/>
            <a:ext cx="974166" cy="270849"/>
          </a:xfrm>
          <a:prstGeom prst="rect">
            <a:avLst/>
          </a:prstGeom>
        </p:spPr>
      </p:pic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62D604C0-0F7B-AA47-8F94-C656B07D20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1" t="31991" r="8582" b="31662"/>
          <a:stretch/>
        </p:blipFill>
        <p:spPr>
          <a:xfrm>
            <a:off x="450799" y="6142382"/>
            <a:ext cx="2183071" cy="273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5786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eperator - Blue on white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3840241" y="2698690"/>
            <a:ext cx="4511518" cy="1308202"/>
          </a:xfrm>
        </p:spPr>
        <p:txBody>
          <a:bodyPr wrap="square" anchor="ctr" anchorCtr="0">
            <a:spAutoFit/>
          </a:bodyPr>
          <a:lstStyle>
            <a:lvl1pPr algn="ctr">
              <a:defRPr>
                <a:solidFill>
                  <a:srgbClr val="092036"/>
                </a:solidFill>
              </a:defRPr>
            </a:lvl1pPr>
          </a:lstStyle>
          <a:p>
            <a:r>
              <a:rPr lang="en-GB" dirty="0"/>
              <a:t>Separator slide title area</a:t>
            </a:r>
            <a:endParaRPr lang="nb-NO" dirty="0"/>
          </a:p>
        </p:txBody>
      </p:sp>
      <p:pic>
        <p:nvPicPr>
          <p:cNvPr id="9" name="Bilde 4">
            <a:extLst>
              <a:ext uri="{FF2B5EF4-FFF2-40B4-BE49-F238E27FC236}">
                <a16:creationId xmlns:a16="http://schemas.microsoft.com/office/drawing/2014/main" id="{F233FD8C-304D-416E-9DB9-008A8271BB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60684" y="6144843"/>
            <a:ext cx="974151" cy="270849"/>
          </a:xfrm>
          <a:prstGeom prst="rect">
            <a:avLst/>
          </a:prstGeom>
        </p:spPr>
      </p:pic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628B66FD-AE4B-444E-90BE-4AA1717382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2" t="33663" r="9051" b="33591"/>
          <a:stretch/>
        </p:blipFill>
        <p:spPr>
          <a:xfrm>
            <a:off x="423472" y="6169471"/>
            <a:ext cx="2190519" cy="246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6028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 - Dark #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9">
            <a:extLst>
              <a:ext uri="{FF2B5EF4-FFF2-40B4-BE49-F238E27FC236}">
                <a16:creationId xmlns:a16="http://schemas.microsoft.com/office/drawing/2014/main" id="{EDE73D52-5613-7546-90B2-E888C3C5A5C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6858000"/>
          </a:xfrm>
          <a:noFill/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5" name="Tittel 5">
            <a:extLst>
              <a:ext uri="{FF2B5EF4-FFF2-40B4-BE49-F238E27FC236}">
                <a16:creationId xmlns:a16="http://schemas.microsoft.com/office/drawing/2014/main" id="{975E073E-8B7A-8242-89C7-80EC1940A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2345256"/>
            <a:ext cx="4795888" cy="136718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pic>
        <p:nvPicPr>
          <p:cNvPr id="17" name="Bilde 5">
            <a:extLst>
              <a:ext uri="{FF2B5EF4-FFF2-40B4-BE49-F238E27FC236}">
                <a16:creationId xmlns:a16="http://schemas.microsoft.com/office/drawing/2014/main" id="{B67D399B-6157-F447-88ED-666BADF141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0800" y="6144843"/>
            <a:ext cx="974166" cy="270849"/>
          </a:xfrm>
          <a:prstGeom prst="rect">
            <a:avLst/>
          </a:prstGeom>
        </p:spPr>
      </p:pic>
      <p:sp>
        <p:nvSpPr>
          <p:cNvPr id="19" name="Plassholder for tekst 11">
            <a:extLst>
              <a:ext uri="{FF2B5EF4-FFF2-40B4-BE49-F238E27FC236}">
                <a16:creationId xmlns:a16="http://schemas.microsoft.com/office/drawing/2014/main" id="{16EC9E2E-942F-AF48-AA72-A5C4C33C92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150" y="3871467"/>
            <a:ext cx="4802238" cy="246221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 err="1"/>
              <a:t>Description</a:t>
            </a:r>
            <a:endParaRPr lang="nb-NO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B50358E7-D11A-E84B-80D3-8BBBF13B9A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1" t="31991" r="8582" b="31662"/>
          <a:stretch/>
        </p:blipFill>
        <p:spPr>
          <a:xfrm>
            <a:off x="450799" y="442308"/>
            <a:ext cx="2183071" cy="273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7285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eperator picture #1">
    <p:bg>
      <p:bgPr>
        <a:solidFill>
          <a:srgbClr val="0920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3840241" y="2698690"/>
            <a:ext cx="4511518" cy="1308202"/>
          </a:xfrm>
        </p:spPr>
        <p:txBody>
          <a:bodyPr wrap="square" anchor="ctr" anchorCtr="0">
            <a:sp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parator slide title area</a:t>
            </a:r>
            <a:endParaRPr lang="nb-NO" dirty="0"/>
          </a:p>
        </p:txBody>
      </p:sp>
      <p:pic>
        <p:nvPicPr>
          <p:cNvPr id="4" name="Bilde 5">
            <a:extLst>
              <a:ext uri="{FF2B5EF4-FFF2-40B4-BE49-F238E27FC236}">
                <a16:creationId xmlns:a16="http://schemas.microsoft.com/office/drawing/2014/main" id="{CB3837C7-87A0-954B-90E1-CE66C3BAD4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60684" y="6144843"/>
            <a:ext cx="974166" cy="270849"/>
          </a:xfrm>
          <a:prstGeom prst="rect">
            <a:avLst/>
          </a:prstGeom>
        </p:spPr>
      </p:pic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CFDBB83B-0276-1D4B-A52F-6A92366105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1" t="31991" r="8582" b="31662"/>
          <a:stretch/>
        </p:blipFill>
        <p:spPr>
          <a:xfrm>
            <a:off x="450799" y="6142382"/>
            <a:ext cx="2183071" cy="273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6275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Brigh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D42AC799-835B-4C74-8EFF-5C1C035533EB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5" name="Plassholder for diagram 4">
            <a:extLst>
              <a:ext uri="{FF2B5EF4-FFF2-40B4-BE49-F238E27FC236}">
                <a16:creationId xmlns:a16="http://schemas.microsoft.com/office/drawing/2014/main" id="{CBCFB0D6-D6B6-4207-BE49-ABF25A8B1A97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7102765" y="1478452"/>
            <a:ext cx="4488071" cy="427408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chart</a:t>
            </a:r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B3098FEC-78A7-4049-BA3F-B38259B54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130820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2737754A-EECD-4875-9B07-E2A80140968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D5444925-14BA-43A2-BEAA-326E0BB8315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7260" y="1802141"/>
            <a:ext cx="3594568" cy="269336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092036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A8B97263-A47A-41D1-8A4B-AF95A98C9A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50" y="2590799"/>
            <a:ext cx="3606850" cy="27781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pic>
        <p:nvPicPr>
          <p:cNvPr id="14" name="Bilde 4">
            <a:extLst>
              <a:ext uri="{FF2B5EF4-FFF2-40B4-BE49-F238E27FC236}">
                <a16:creationId xmlns:a16="http://schemas.microsoft.com/office/drawing/2014/main" id="{0499F334-8012-496B-A5AD-FDCF6CEE3E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79081" y="6555408"/>
            <a:ext cx="555719" cy="154510"/>
          </a:xfrm>
          <a:prstGeom prst="rect">
            <a:avLst/>
          </a:prstGeom>
        </p:spPr>
      </p:pic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3B7EEC1A-B7C5-1B4F-9FFA-951AD8A8B6E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16119" y="6574955"/>
            <a:ext cx="3606850" cy="115416"/>
          </a:xfrm>
        </p:spPr>
        <p:txBody>
          <a:bodyPr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rgbClr val="092036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source (optional)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9E6A9CE2-B9BF-BB4F-9D1E-1034330A51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2" t="33663" r="9051" b="33591"/>
          <a:stretch/>
        </p:blipFill>
        <p:spPr>
          <a:xfrm>
            <a:off x="457150" y="6579002"/>
            <a:ext cx="1203097" cy="135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5022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D42AC799-835B-4C74-8EFF-5C1C035533EB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5" name="Plassholder for diagram 4">
            <a:extLst>
              <a:ext uri="{FF2B5EF4-FFF2-40B4-BE49-F238E27FC236}">
                <a16:creationId xmlns:a16="http://schemas.microsoft.com/office/drawing/2014/main" id="{CBCFB0D6-D6B6-4207-BE49-ABF25A8B1A97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7102765" y="1478452"/>
            <a:ext cx="4488071" cy="427408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chart</a:t>
            </a:r>
            <a:endParaRPr lang="nb-NO"/>
          </a:p>
        </p:txBody>
      </p:sp>
      <p:sp>
        <p:nvSpPr>
          <p:cNvPr id="10" name="Tittel 3">
            <a:extLst>
              <a:ext uri="{FF2B5EF4-FFF2-40B4-BE49-F238E27FC236}">
                <a16:creationId xmlns:a16="http://schemas.microsoft.com/office/drawing/2014/main" id="{BA48C76C-DADE-43B9-8375-1F2C4681ED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130820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4" name="Plassholder for innhold 4">
            <a:extLst>
              <a:ext uri="{FF2B5EF4-FFF2-40B4-BE49-F238E27FC236}">
                <a16:creationId xmlns:a16="http://schemas.microsoft.com/office/drawing/2014/main" id="{D2762BE2-FD49-4151-A5EE-FEE8D55A45A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57150" y="2590800"/>
            <a:ext cx="3606850" cy="2778125"/>
          </a:xfrm>
          <a:prstGeom prst="rect">
            <a:avLst/>
          </a:prstGeom>
        </p:spPr>
        <p:txBody>
          <a:bodyPr lIns="0" tIns="0" rIns="0" bIns="0"/>
          <a:lstStyle>
            <a:lvl1pPr marL="179423" indent="-17942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1pPr>
            <a:lvl2pPr marL="404100" indent="-17942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5" name="Plassholder for tekst 2">
            <a:extLst>
              <a:ext uri="{FF2B5EF4-FFF2-40B4-BE49-F238E27FC236}">
                <a16:creationId xmlns:a16="http://schemas.microsoft.com/office/drawing/2014/main" id="{2D5E20BA-FA31-4954-A315-FAFC2947893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57260" y="1802141"/>
            <a:ext cx="3594568" cy="269336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lassholder for lysbildenummer 8">
            <a:extLst>
              <a:ext uri="{FF2B5EF4-FFF2-40B4-BE49-F238E27FC236}">
                <a16:creationId xmlns:a16="http://schemas.microsoft.com/office/drawing/2014/main" id="{D60FCB83-44F1-4DE7-B59C-C3B83D683EED}"/>
              </a:ext>
            </a:extLst>
          </p:cNvPr>
          <p:cNvSpPr txBox="1">
            <a:spLocks/>
          </p:cNvSpPr>
          <p:nvPr userDrawn="1"/>
        </p:nvSpPr>
        <p:spPr>
          <a:xfrm>
            <a:off x="8364509" y="6574955"/>
            <a:ext cx="2743200" cy="11541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nb-NO"/>
            </a:defPPr>
            <a:lvl1pPr marL="0" algn="r" defTabSz="914263" rtl="0" eaLnBrk="1" latinLnBrk="0" hangingPunct="1">
              <a:defRPr sz="750" kern="1200">
                <a:solidFill>
                  <a:srgbClr val="092036"/>
                </a:solidFill>
                <a:latin typeface="+mn-lt"/>
                <a:ea typeface="+mn-ea"/>
                <a:cs typeface="+mn-cs"/>
              </a:defRPr>
            </a:lvl1pPr>
            <a:lvl2pPr marL="457132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63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95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26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57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789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20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52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7" name="Bilde 4">
            <a:extLst>
              <a:ext uri="{FF2B5EF4-FFF2-40B4-BE49-F238E27FC236}">
                <a16:creationId xmlns:a16="http://schemas.microsoft.com/office/drawing/2014/main" id="{59A317B0-ACD2-49C7-958A-9F263A03C1F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79081" y="6559115"/>
            <a:ext cx="555719" cy="154510"/>
          </a:xfrm>
          <a:prstGeom prst="rect">
            <a:avLst/>
          </a:prstGeom>
        </p:spPr>
      </p:pic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F050DAB1-DA03-E248-837C-E0C7694B1B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16119" y="6574955"/>
            <a:ext cx="3606850" cy="115416"/>
          </a:xfrm>
        </p:spPr>
        <p:txBody>
          <a:bodyPr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rgbClr val="F7F7F7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source (optional)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8A50029F-008B-E24F-A6D4-BDC23D4A71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1" t="31991" r="8582" b="31662"/>
          <a:stretch/>
        </p:blipFill>
        <p:spPr>
          <a:xfrm>
            <a:off x="457151" y="6563383"/>
            <a:ext cx="1232502" cy="154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778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- B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8">
            <a:extLst>
              <a:ext uri="{FF2B5EF4-FFF2-40B4-BE49-F238E27FC236}">
                <a16:creationId xmlns:a16="http://schemas.microsoft.com/office/drawing/2014/main" id="{ECB3A299-6F77-4A9B-B40D-781F999507E3}"/>
              </a:ext>
            </a:extLst>
          </p:cNvPr>
          <p:cNvSpPr txBox="1">
            <a:spLocks/>
          </p:cNvSpPr>
          <p:nvPr userDrawn="1"/>
        </p:nvSpPr>
        <p:spPr>
          <a:xfrm>
            <a:off x="8364509" y="6574955"/>
            <a:ext cx="2743200" cy="11541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nb-NO"/>
            </a:defPPr>
            <a:lvl1pPr marL="0" algn="r" defTabSz="914263" rtl="0" eaLnBrk="1" latinLnBrk="0" hangingPunct="1">
              <a:defRPr sz="750" kern="1200">
                <a:solidFill>
                  <a:srgbClr val="092036"/>
                </a:solidFill>
                <a:latin typeface="+mn-lt"/>
                <a:ea typeface="+mn-ea"/>
                <a:cs typeface="+mn-cs"/>
              </a:defRPr>
            </a:lvl1pPr>
            <a:lvl2pPr marL="457132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63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95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26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57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789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20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52" algn="l" defTabSz="9142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6E08D778-C99B-5C44-A9CB-E72EFBC807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2" t="33663" r="9051" b="33591"/>
          <a:stretch/>
        </p:blipFill>
        <p:spPr>
          <a:xfrm>
            <a:off x="457150" y="6579002"/>
            <a:ext cx="1203097" cy="135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8400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99B4C6F-5B41-4579-A8D7-84C2B81675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75100" y="6530684"/>
            <a:ext cx="554462" cy="154208"/>
          </a:xfrm>
          <a:prstGeom prst="rect">
            <a:avLst/>
          </a:prstGeom>
        </p:spPr>
      </p:pic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12797FA1-6917-41D7-9A8D-A487413B05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64509" y="6543695"/>
            <a:ext cx="2743200" cy="11541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D86CB009-1FEC-B446-87CC-A09E9608A0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1" t="31991" r="8582" b="31662"/>
          <a:stretch/>
        </p:blipFill>
        <p:spPr>
          <a:xfrm>
            <a:off x="457151" y="6563383"/>
            <a:ext cx="1232502" cy="154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4911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 - Brigh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9">
            <a:extLst>
              <a:ext uri="{FF2B5EF4-FFF2-40B4-BE49-F238E27FC236}">
                <a16:creationId xmlns:a16="http://schemas.microsoft.com/office/drawing/2014/main" id="{DA6D856C-6A12-0145-B746-EE23AB2B29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472" y="6144843"/>
            <a:ext cx="974169" cy="270849"/>
          </a:xfrm>
          <a:prstGeom prst="rect">
            <a:avLst/>
          </a:prstGeom>
        </p:spPr>
      </p:pic>
      <p:sp>
        <p:nvSpPr>
          <p:cNvPr id="11" name="Plassholder for bilde 9">
            <a:extLst>
              <a:ext uri="{FF2B5EF4-FFF2-40B4-BE49-F238E27FC236}">
                <a16:creationId xmlns:a16="http://schemas.microsoft.com/office/drawing/2014/main" id="{B9F11C6A-3E17-2F45-8354-6B36F1C51A5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6858000"/>
          </a:xfrm>
          <a:noFill/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0" name="Tittel 5">
            <a:extLst>
              <a:ext uri="{FF2B5EF4-FFF2-40B4-BE49-F238E27FC236}">
                <a16:creationId xmlns:a16="http://schemas.microsoft.com/office/drawing/2014/main" id="{0EE2C2A4-4138-B648-BB4E-D5A0CA72F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2345256"/>
            <a:ext cx="4795888" cy="1308307"/>
          </a:xfrm>
        </p:spPr>
        <p:txBody>
          <a:bodyPr/>
          <a:lstStyle>
            <a:lvl1pPr>
              <a:defRPr>
                <a:solidFill>
                  <a:srgbClr val="09203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1546F1B5-5C17-1C43-9AA3-EC3926CD90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150" y="3871467"/>
            <a:ext cx="4802238" cy="246221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rgbClr val="09203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 err="1"/>
              <a:t>Description</a:t>
            </a:r>
            <a:endParaRPr lang="nb-NO" dirty="0"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9C18D502-5C48-5D40-A774-B0D5ACA854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2" t="33663" r="9051" b="33591"/>
          <a:stretch/>
        </p:blipFill>
        <p:spPr>
          <a:xfrm>
            <a:off x="423472" y="442307"/>
            <a:ext cx="2190519" cy="246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6387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itle and Actionlis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F2334C0-1C41-4667-9429-0ADBD6D357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7918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F2334C0-1C41-4667-9429-0ADBD6D357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87E5567-6D6E-4147-A15A-110F791CFB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4251" b="0" i="0" baseline="0" dirty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3DA1BE70-DC21-439F-9724-DA8B8ADB0F69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D18B5DD5-4028-4E82-8683-05BB888F14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4054" y="302592"/>
            <a:ext cx="4833184" cy="654101"/>
          </a:xfrm>
        </p:spPr>
        <p:txBody>
          <a:bodyPr wrap="square">
            <a:spAutoFit/>
          </a:bodyPr>
          <a:lstStyle>
            <a:lvl1pPr marL="0" indent="0">
              <a:buNone/>
              <a:defRPr sz="4251">
                <a:latin typeface="+mj-lt"/>
              </a:defRPr>
            </a:lvl1pPr>
          </a:lstStyle>
          <a:p>
            <a:pPr lvl="0"/>
            <a:r>
              <a:rPr lang="fr-FR" dirty="0"/>
              <a:t>Action 1 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C5388F9-91D1-44A4-BFE2-9B189A709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1308202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91B1F2D-A1A9-4BF2-B454-AB00B020CD4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‹#›</a:t>
            </a:fld>
            <a:r>
              <a:rPr lang="nb-NO" dirty="0"/>
              <a:t> </a:t>
            </a:r>
          </a:p>
        </p:txBody>
      </p:sp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0296490-1971-4C29-8418-D96513961D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60" y="1802141"/>
            <a:ext cx="3594568" cy="246221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09DDCF24-5FA6-764F-957B-95DF21A5EC5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43872" y="6574955"/>
            <a:ext cx="2108200" cy="115416"/>
          </a:xfrm>
        </p:spPr>
        <p:txBody>
          <a:bodyPr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source (optional)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AC7A671F-B4A1-DE42-AD10-194E833128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1" t="31991" r="8582" b="31662"/>
          <a:stretch/>
        </p:blipFill>
        <p:spPr>
          <a:xfrm>
            <a:off x="457151" y="6563383"/>
            <a:ext cx="1232502" cy="154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9658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itle and tex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80DB6D0-073D-4D5E-B4FC-1E3240437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733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80DB6D0-073D-4D5E-B4FC-1E3240437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2EBEED2-99F0-459A-B10E-76EE6FB1D2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4251" b="0" i="0" baseline="0" dirty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3DA1BE70-DC21-439F-9724-DA8B8ADB0F69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9EF7AABD-7707-4579-8260-5AFECA49738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53150" y="424655"/>
            <a:ext cx="4451400" cy="5479434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A761D89A-882D-4EEF-85DD-B344AA500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1308202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80A39AC8-B338-4985-9357-251BB954551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F0A61E1D-2451-4B57-BC7B-893603D96A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7260" y="1802141"/>
            <a:ext cx="3594568" cy="269336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297700D-3B3F-B64F-8100-77AB01F240C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43872" y="6574955"/>
            <a:ext cx="2108200" cy="115416"/>
          </a:xfrm>
        </p:spPr>
        <p:txBody>
          <a:bodyPr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source (optional)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F1796720-7A57-8D41-A703-18BAE699CE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1" t="31991" r="8582" b="31662"/>
          <a:stretch/>
        </p:blipFill>
        <p:spPr>
          <a:xfrm>
            <a:off x="457151" y="6563383"/>
            <a:ext cx="1232502" cy="154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2034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w/ picture (3)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040327-4039-4546-903D-15C8B33BE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809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040327-4039-4546-903D-15C8B33BE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CABF1A0-C085-40D7-A79E-0CBAC9B6FF1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4251" b="0" i="0" baseline="0" dirty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3DA1BE70-DC21-439F-9724-DA8B8ADB0F69}"/>
              </a:ext>
            </a:extLst>
          </p:cNvPr>
          <p:cNvSpPr/>
          <p:nvPr userDrawn="1"/>
        </p:nvSpPr>
        <p:spPr>
          <a:xfrm>
            <a:off x="0" y="0"/>
            <a:ext cx="429951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9EF7AABD-7707-4579-8260-5AFECA49738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09880" y="695032"/>
            <a:ext cx="4794670" cy="2693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/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lassholder for tekst 1">
            <a:extLst>
              <a:ext uri="{FF2B5EF4-FFF2-40B4-BE49-F238E27FC236}">
                <a16:creationId xmlns:a16="http://schemas.microsoft.com/office/drawing/2014/main" id="{135718B8-6169-4FD9-81F0-901D050E53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9880" y="426911"/>
            <a:ext cx="4794670" cy="2693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10" name="Plassholder for tekst 1">
            <a:extLst>
              <a:ext uri="{FF2B5EF4-FFF2-40B4-BE49-F238E27FC236}">
                <a16:creationId xmlns:a16="http://schemas.microsoft.com/office/drawing/2014/main" id="{3BA6212A-58A9-4079-96D1-9AA82FF16A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9880" y="2259522"/>
            <a:ext cx="4794670" cy="2693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/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lassholder for tekst 1">
            <a:extLst>
              <a:ext uri="{FF2B5EF4-FFF2-40B4-BE49-F238E27FC236}">
                <a16:creationId xmlns:a16="http://schemas.microsoft.com/office/drawing/2014/main" id="{9DDBB49C-E85A-426B-A329-267EE3E4BE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9880" y="1991401"/>
            <a:ext cx="4794670" cy="2693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13" name="Plassholder for tekst 1">
            <a:extLst>
              <a:ext uri="{FF2B5EF4-FFF2-40B4-BE49-F238E27FC236}">
                <a16:creationId xmlns:a16="http://schemas.microsoft.com/office/drawing/2014/main" id="{558C74CC-B68C-45E8-9E15-3F2595D93EB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9880" y="3790562"/>
            <a:ext cx="4794670" cy="2693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/>
            </a:lvl1pPr>
            <a:lvl2pPr marL="224676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lassholder for tekst 1">
            <a:extLst>
              <a:ext uri="{FF2B5EF4-FFF2-40B4-BE49-F238E27FC236}">
                <a16:creationId xmlns:a16="http://schemas.microsoft.com/office/drawing/2014/main" id="{9AEA30CB-FEA9-44DD-A2A4-4375CC2D437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9880" y="3522440"/>
            <a:ext cx="4794670" cy="2693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0">
                <a:latin typeface="+mj-lt"/>
              </a:defRPr>
            </a:lvl1pPr>
            <a:lvl2pPr marL="224676" indent="0">
              <a:buNone/>
              <a:defRPr/>
            </a:lvl2pPr>
          </a:lstStyle>
          <a:p>
            <a:pPr lvl="0"/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130D74EC-1C35-404A-AE2C-045F8E8E660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244195" y="480388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/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16" name="Plassholder for bilde 9">
            <a:extLst>
              <a:ext uri="{FF2B5EF4-FFF2-40B4-BE49-F238E27FC236}">
                <a16:creationId xmlns:a16="http://schemas.microsoft.com/office/drawing/2014/main" id="{6A61307B-2807-4D6F-9CD2-4332E34F09E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44195" y="2061324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/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17" name="Plassholder for bilde 9">
            <a:extLst>
              <a:ext uri="{FF2B5EF4-FFF2-40B4-BE49-F238E27FC236}">
                <a16:creationId xmlns:a16="http://schemas.microsoft.com/office/drawing/2014/main" id="{253B428E-3402-4922-9A2F-A9AE4481638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244195" y="3576375"/>
            <a:ext cx="737926" cy="74303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50"/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867BF36C-1FC6-4E56-A56F-9B9DA765B2F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57150" y="2590800"/>
            <a:ext cx="3606850" cy="2778125"/>
          </a:xfrm>
          <a:prstGeom prst="rect">
            <a:avLst/>
          </a:prstGeom>
        </p:spPr>
        <p:txBody>
          <a:bodyPr lIns="0" tIns="0" rIns="0" bIns="0"/>
          <a:lstStyle>
            <a:lvl1pPr marL="179423" indent="-179423">
              <a:buFontTx/>
              <a:buBlip>
                <a:blip r:embed="rId6"/>
              </a:buBlip>
              <a:defRPr>
                <a:solidFill>
                  <a:schemeClr val="accent4"/>
                </a:solidFill>
              </a:defRPr>
            </a:lvl1pPr>
            <a:lvl2pPr marL="404100" indent="-179423">
              <a:buFontTx/>
              <a:buBlip>
                <a:blip r:embed="rId6"/>
              </a:buBlip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799DD226-B2A6-49E9-B4B2-47A21FF7ADD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Tittel 5">
            <a:extLst>
              <a:ext uri="{FF2B5EF4-FFF2-40B4-BE49-F238E27FC236}">
                <a16:creationId xmlns:a16="http://schemas.microsoft.com/office/drawing/2014/main" id="{B6A70FBD-1A21-415F-B3CB-4BE6A3EC1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3606850" cy="196246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9" name="Plassholder for tekst 2">
            <a:extLst>
              <a:ext uri="{FF2B5EF4-FFF2-40B4-BE49-F238E27FC236}">
                <a16:creationId xmlns:a16="http://schemas.microsoft.com/office/drawing/2014/main" id="{767A87F4-03B5-4791-82BF-90E9BAAD0CF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57260" y="1802141"/>
            <a:ext cx="3594568" cy="246221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AF820289-01FD-4A8E-9A81-93DC13AE4BA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55800" y="6574955"/>
            <a:ext cx="2108200" cy="115416"/>
          </a:xfrm>
        </p:spPr>
        <p:txBody>
          <a:bodyPr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source (optional)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95330C-278E-5D44-BF0A-81458A557C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1" t="31991" r="8582" b="31662"/>
          <a:stretch/>
        </p:blipFill>
        <p:spPr>
          <a:xfrm>
            <a:off x="457151" y="6563383"/>
            <a:ext cx="1232502" cy="154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5287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itle, text and picture - Brigh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D0106900-87DD-42FE-B55C-9D29B00D0FC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6858000"/>
          </a:xfrm>
          <a:noFill/>
        </p:spPr>
        <p:txBody>
          <a:bodyPr/>
          <a:lstStyle/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EAB98AEA-B137-4D30-97BE-293F24CEDC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2876600" cy="65415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8FCC6DC2-D163-49BE-85DA-2401D8442A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Plassholder for tekst 2">
            <a:extLst>
              <a:ext uri="{FF2B5EF4-FFF2-40B4-BE49-F238E27FC236}">
                <a16:creationId xmlns:a16="http://schemas.microsoft.com/office/drawing/2014/main" id="{CDAC2FF9-1F56-4117-8842-FD167781D5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7260" y="1802141"/>
            <a:ext cx="3594568" cy="269336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092036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351B67B9-D216-4176-A0E6-1D15561B99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50" y="2590799"/>
            <a:ext cx="3606850" cy="27781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3C896B96-375C-401B-98AD-AECACFA8238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16119" y="6574955"/>
            <a:ext cx="3606850" cy="115416"/>
          </a:xfrm>
        </p:spPr>
        <p:txBody>
          <a:bodyPr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rgbClr val="092036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source (optional)</a:t>
            </a:r>
          </a:p>
        </p:txBody>
      </p:sp>
      <p:pic>
        <p:nvPicPr>
          <p:cNvPr id="14" name="Bilde 4">
            <a:extLst>
              <a:ext uri="{FF2B5EF4-FFF2-40B4-BE49-F238E27FC236}">
                <a16:creationId xmlns:a16="http://schemas.microsoft.com/office/drawing/2014/main" id="{C734392A-8EC8-4145-9831-6D53B1A571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79081" y="6555408"/>
            <a:ext cx="555719" cy="154510"/>
          </a:xfrm>
          <a:prstGeom prst="rect">
            <a:avLst/>
          </a:prstGeom>
        </p:spPr>
      </p:pic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A889F67D-AF61-AB48-982B-2A37059783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2" t="33663" r="9051" b="33591"/>
          <a:stretch/>
        </p:blipFill>
        <p:spPr>
          <a:xfrm>
            <a:off x="457150" y="6579002"/>
            <a:ext cx="1203097" cy="135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3977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itle, text and pictur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D0106900-87DD-42FE-B55C-9D29B00D0FC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6858000"/>
          </a:xfrm>
          <a:noFill/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D0F2BA19-F48D-40C0-8FC1-F9FD390824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60" y="1964066"/>
            <a:ext cx="3594568" cy="246221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tel 4">
            <a:extLst>
              <a:ext uri="{FF2B5EF4-FFF2-40B4-BE49-F238E27FC236}">
                <a16:creationId xmlns:a16="http://schemas.microsoft.com/office/drawing/2014/main" id="{002C729B-F3E1-44F5-93C7-E80405653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2876600" cy="654153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4B27C72B-00ED-425F-BD6C-39DE95E94D6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3" name="Bilde 10">
            <a:extLst>
              <a:ext uri="{FF2B5EF4-FFF2-40B4-BE49-F238E27FC236}">
                <a16:creationId xmlns:a16="http://schemas.microsoft.com/office/drawing/2014/main" id="{50CB9D95-C297-42AC-A422-28DAC75EE8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80338" y="6555559"/>
            <a:ext cx="554462" cy="154208"/>
          </a:xfrm>
          <a:prstGeom prst="rect">
            <a:avLst/>
          </a:prstGeom>
        </p:spPr>
      </p:pic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23769A3D-E217-5E4C-AA91-740E0401D34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16119" y="6574955"/>
            <a:ext cx="3606850" cy="115416"/>
          </a:xfrm>
        </p:spPr>
        <p:txBody>
          <a:bodyPr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rgbClr val="F7F7F7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source (optional)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23E57F17-831C-324F-99ED-F5E0CDC22E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1" t="31991" r="8582" b="31662"/>
          <a:stretch/>
        </p:blipFill>
        <p:spPr>
          <a:xfrm>
            <a:off x="457151" y="6563383"/>
            <a:ext cx="1232502" cy="154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7788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Brigh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182EAE-F337-4800-8BF8-2701532E29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9840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182EAE-F337-4800-8BF8-2701532E29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9F6771C-8969-48A2-A44F-C9748E8951A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3600" b="0" i="0" baseline="0" dirty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66F3A52F-9DAA-489E-9591-4945212199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11277650" cy="553998"/>
          </a:xfrm>
        </p:spPr>
        <p:txBody>
          <a:bodyPr/>
          <a:lstStyle>
            <a:lvl1pPr>
              <a:defRPr sz="3600" baseline="0">
                <a:solidFill>
                  <a:srgbClr val="09203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4E0EA309-3B63-4D41-97E7-F60372C465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2" t="33663" r="9051" b="33591"/>
          <a:stretch/>
        </p:blipFill>
        <p:spPr>
          <a:xfrm>
            <a:off x="457150" y="6579002"/>
            <a:ext cx="1203097" cy="135232"/>
          </a:xfrm>
          <a:prstGeom prst="rect">
            <a:avLst/>
          </a:prstGeom>
        </p:spPr>
      </p:pic>
      <p:sp>
        <p:nvSpPr>
          <p:cNvPr id="17" name="Plassholder for lysbildenummer 3">
            <a:extLst>
              <a:ext uri="{FF2B5EF4-FFF2-40B4-BE49-F238E27FC236}">
                <a16:creationId xmlns:a16="http://schemas.microsoft.com/office/drawing/2014/main" id="{00F45901-A7AE-554E-A765-3734D4FAA6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64509" y="6574955"/>
            <a:ext cx="2743200" cy="115416"/>
          </a:xfrm>
        </p:spPr>
        <p:txBody>
          <a:bodyPr/>
          <a:lstStyle/>
          <a:p>
            <a:fld id="{AF82C51F-475B-4DE1-B4BE-74973CDCE049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8" name="Bilde 4">
            <a:extLst>
              <a:ext uri="{FF2B5EF4-FFF2-40B4-BE49-F238E27FC236}">
                <a16:creationId xmlns:a16="http://schemas.microsoft.com/office/drawing/2014/main" id="{DEA16E35-D097-3F4E-8CEC-9673AFDC0BE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79081" y="6555408"/>
            <a:ext cx="555719" cy="154510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8AC76868-35F1-5342-A771-FB0E09C3C6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16119" y="6574955"/>
            <a:ext cx="3606850" cy="115416"/>
          </a:xfrm>
        </p:spPr>
        <p:txBody>
          <a:bodyPr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750">
                <a:solidFill>
                  <a:srgbClr val="092036"/>
                </a:solidFill>
              </a:defRPr>
            </a:lvl1pPr>
            <a:lvl2pPr>
              <a:spcBef>
                <a:spcPts val="0"/>
              </a:spcBef>
              <a:defRPr sz="75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75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75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source (optional)</a:t>
            </a:r>
          </a:p>
        </p:txBody>
      </p:sp>
    </p:spTree>
    <p:extLst>
      <p:ext uri="{BB962C8B-B14F-4D97-AF65-F5344CB8AC3E}">
        <p14:creationId xmlns:p14="http://schemas.microsoft.com/office/powerpoint/2010/main" val="12220068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DE1E689B-AA5D-4BDA-93CC-72C79206B1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774332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631" imgH="631" progId="TCLayout.ActiveDocument.1">
                  <p:embed/>
                </p:oleObj>
              </mc:Choice>
              <mc:Fallback>
                <p:oleObj name="think-cell Slide" r:id="rId28" imgW="631" imgH="631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DE1E689B-AA5D-4BDA-93CC-72C79206B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5FA13305-4036-45C8-B957-538F77ABBFD6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4251" b="0" i="0" baseline="0" dirty="0">
              <a:latin typeface="Whyte Medium" panose="020B0604020202020204" charset="0"/>
              <a:ea typeface="+mj-ea"/>
              <a:cs typeface="+mj-cs"/>
              <a:sym typeface="Whyte Medium" panose="020B060402020202020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150" y="302592"/>
            <a:ext cx="11277650" cy="13082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b-NO" dirty="0" err="1"/>
              <a:t>Title</a:t>
            </a:r>
            <a:r>
              <a:rPr lang="nb-NO" dirty="0"/>
              <a:t> </a:t>
            </a:r>
            <a:r>
              <a:rPr lang="nb-NO" dirty="0" err="1"/>
              <a:t>ﬁeld</a:t>
            </a:r>
            <a:r>
              <a:rPr lang="nb-NO" dirty="0"/>
              <a:t> </a:t>
            </a:r>
            <a:br>
              <a:rPr lang="nb-NO" dirty="0"/>
            </a:br>
            <a:r>
              <a:rPr lang="nb-NO" dirty="0" err="1"/>
              <a:t>two</a:t>
            </a:r>
            <a:r>
              <a:rPr lang="nb-NO" dirty="0"/>
              <a:t> lines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149" y="1963091"/>
            <a:ext cx="11277651" cy="36680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 dirty="0" err="1"/>
              <a:t>Klik</a:t>
            </a:r>
            <a:r>
              <a:rPr lang="nb-NO" dirty="0"/>
              <a:t> s </a:t>
            </a:r>
            <a:r>
              <a:rPr lang="nb-NO" dirty="0" err="1"/>
              <a:t>ds</a:t>
            </a:r>
            <a:endParaRPr lang="nb-NO" dirty="0"/>
          </a:p>
          <a:p>
            <a:pPr lvl="0"/>
            <a:r>
              <a:rPr lang="nb-NO" dirty="0" err="1"/>
              <a:t>Lfor</a:t>
            </a:r>
            <a:r>
              <a:rPr lang="nb-NO" dirty="0"/>
              <a:t> å redigere tekststiler i malen</a:t>
            </a:r>
          </a:p>
          <a:p>
            <a:pPr lvl="1"/>
            <a:r>
              <a:rPr lang="nb-NO" dirty="0" err="1"/>
              <a:t>LAndre</a:t>
            </a:r>
            <a:r>
              <a:rPr lang="nb-NO" dirty="0"/>
              <a:t> nivå</a:t>
            </a:r>
          </a:p>
          <a:p>
            <a:pPr lvl="1"/>
            <a:r>
              <a:rPr lang="nb-NO" dirty="0"/>
              <a:t>Lasas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FA15BF96-7025-432A-9A84-3E1C16EDB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64509" y="6574955"/>
            <a:ext cx="2743200" cy="11541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750">
                <a:solidFill>
                  <a:srgbClr val="092036"/>
                </a:solidFill>
              </a:defRPr>
            </a:lvl1pPr>
          </a:lstStyle>
          <a:p>
            <a:fld id="{AF82C51F-475B-4DE1-B4BE-74973CDCE049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4">
            <a:extLst>
              <a:ext uri="{FF2B5EF4-FFF2-40B4-BE49-F238E27FC236}">
                <a16:creationId xmlns:a16="http://schemas.microsoft.com/office/drawing/2014/main" id="{A18D6E07-A1C4-41FE-B627-5977FA53158F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79081" y="6555408"/>
            <a:ext cx="555719" cy="154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1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77" r:id="rId9"/>
    <p:sldLayoutId id="2147483683" r:id="rId10"/>
    <p:sldLayoutId id="2147483650" r:id="rId11"/>
    <p:sldLayoutId id="2147483652" r:id="rId12"/>
    <p:sldLayoutId id="2147483675" r:id="rId13"/>
    <p:sldLayoutId id="2147483663" r:id="rId14"/>
    <p:sldLayoutId id="2147483662" r:id="rId15"/>
    <p:sldLayoutId id="2147483674" r:id="rId16"/>
    <p:sldLayoutId id="2147483665" r:id="rId17"/>
    <p:sldLayoutId id="2147483666" r:id="rId18"/>
    <p:sldLayoutId id="2147483667" r:id="rId19"/>
    <p:sldLayoutId id="2147483679" r:id="rId20"/>
    <p:sldLayoutId id="2147483671" r:id="rId21"/>
    <p:sldLayoutId id="2147483672" r:id="rId22"/>
    <p:sldLayoutId id="2147483655" r:id="rId23"/>
    <p:sldLayoutId id="2147483678" r:id="rId24"/>
  </p:sldLayoutIdLst>
  <p:hf hdr="0" dt="0"/>
  <p:txStyles>
    <p:titleStyle>
      <a:lvl1pPr algn="l" defTabSz="914446" rtl="0" eaLnBrk="1" latinLnBrk="0" hangingPunct="1">
        <a:lnSpc>
          <a:spcPct val="100000"/>
        </a:lnSpc>
        <a:spcBef>
          <a:spcPct val="0"/>
        </a:spcBef>
        <a:buNone/>
        <a:defRPr sz="4251" kern="1200">
          <a:solidFill>
            <a:srgbClr val="092036"/>
          </a:solidFill>
          <a:latin typeface="+mj-lt"/>
          <a:ea typeface="+mj-ea"/>
          <a:cs typeface="+mj-cs"/>
        </a:defRPr>
      </a:lvl1pPr>
    </p:titleStyle>
    <p:bodyStyle>
      <a:lvl1pPr marL="179423" indent="-179423" algn="l" defTabSz="914446" rtl="0" eaLnBrk="1" latinLnBrk="0" hangingPunct="1">
        <a:lnSpc>
          <a:spcPct val="100000"/>
        </a:lnSpc>
        <a:spcBef>
          <a:spcPts val="200"/>
        </a:spcBef>
        <a:buSzPct val="120000"/>
        <a:buFontTx/>
        <a:buBlip>
          <a:blip r:embed="rId31"/>
        </a:buBlip>
        <a:defRPr sz="1600" kern="1200">
          <a:solidFill>
            <a:srgbClr val="092036"/>
          </a:solidFill>
          <a:latin typeface="+mn-lt"/>
          <a:ea typeface="+mn-ea"/>
          <a:cs typeface="+mn-cs"/>
        </a:defRPr>
      </a:lvl1pPr>
      <a:lvl2pPr marL="385763" indent="-206375" algn="l" defTabSz="914446" rtl="0" eaLnBrk="1" latinLnBrk="0" hangingPunct="1">
        <a:lnSpc>
          <a:spcPct val="100000"/>
        </a:lnSpc>
        <a:spcBef>
          <a:spcPts val="200"/>
        </a:spcBef>
        <a:buSzPct val="100000"/>
        <a:buFont typeface="Whyte Book" panose="020B0004050101020103" pitchFamily="34" charset="0"/>
        <a:buChar char="–"/>
        <a:defRPr sz="1600" kern="1200">
          <a:solidFill>
            <a:srgbClr val="092036"/>
          </a:solidFill>
          <a:latin typeface="+mn-lt"/>
          <a:ea typeface="+mn-ea"/>
          <a:cs typeface="+mn-cs"/>
        </a:defRPr>
      </a:lvl2pPr>
      <a:lvl3pPr marL="517525" indent="-120650" algn="l" defTabSz="914446" rtl="0" eaLnBrk="1" latinLnBrk="0" hangingPunct="1">
        <a:lnSpc>
          <a:spcPct val="100000"/>
        </a:lnSpc>
        <a:spcBef>
          <a:spcPts val="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8975" indent="-171450" algn="l" defTabSz="914446" rtl="0" eaLnBrk="1" latinLnBrk="0" hangingPunct="1">
        <a:lnSpc>
          <a:spcPct val="100000"/>
        </a:lnSpc>
        <a:spcBef>
          <a:spcPts val="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01688" indent="-112713" algn="l" defTabSz="914446" rtl="0" eaLnBrk="1" latinLnBrk="0" hangingPunct="1">
        <a:lnSpc>
          <a:spcPct val="100000"/>
        </a:lnSpc>
        <a:spcBef>
          <a:spcPts val="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0" userDrawn="1">
          <p15:clr>
            <a:srgbClr val="F26B43"/>
          </p15:clr>
        </p15:guide>
        <p15:guide id="2" pos="288" userDrawn="1">
          <p15:clr>
            <a:srgbClr val="F26B43"/>
          </p15:clr>
        </p15:guide>
        <p15:guide id="3" pos="752" userDrawn="1">
          <p15:clr>
            <a:srgbClr val="F26B43"/>
          </p15:clr>
        </p15:guide>
        <p15:guide id="4" pos="892" userDrawn="1">
          <p15:clr>
            <a:srgbClr val="F26B43"/>
          </p15:clr>
        </p15:guide>
        <p15:guide id="5" pos="1353" userDrawn="1">
          <p15:clr>
            <a:srgbClr val="F26B43"/>
          </p15:clr>
        </p15:guide>
        <p15:guide id="6" pos="1497" userDrawn="1">
          <p15:clr>
            <a:srgbClr val="F26B43"/>
          </p15:clr>
        </p15:guide>
        <p15:guide id="7" pos="1958" userDrawn="1">
          <p15:clr>
            <a:srgbClr val="F26B43"/>
          </p15:clr>
        </p15:guide>
        <p15:guide id="8" pos="2100" userDrawn="1">
          <p15:clr>
            <a:srgbClr val="F26B43"/>
          </p15:clr>
        </p15:guide>
        <p15:guide id="9" pos="2560" userDrawn="1">
          <p15:clr>
            <a:srgbClr val="F26B43"/>
          </p15:clr>
        </p15:guide>
        <p15:guide id="10" pos="2704" userDrawn="1">
          <p15:clr>
            <a:srgbClr val="F26B43"/>
          </p15:clr>
        </p15:guide>
        <p15:guide id="11" pos="3164" userDrawn="1">
          <p15:clr>
            <a:srgbClr val="F26B43"/>
          </p15:clr>
        </p15:guide>
        <p15:guide id="12" pos="3309" userDrawn="1">
          <p15:clr>
            <a:srgbClr val="F26B43"/>
          </p15:clr>
        </p15:guide>
        <p15:guide id="13" pos="3770" userDrawn="1">
          <p15:clr>
            <a:srgbClr val="F26B43"/>
          </p15:clr>
        </p15:guide>
        <p15:guide id="14" pos="3911" userDrawn="1">
          <p15:clr>
            <a:srgbClr val="F26B43"/>
          </p15:clr>
        </p15:guide>
        <p15:guide id="15" pos="4371" userDrawn="1">
          <p15:clr>
            <a:srgbClr val="F26B43"/>
          </p15:clr>
        </p15:guide>
        <p15:guide id="16" pos="4515" userDrawn="1">
          <p15:clr>
            <a:srgbClr val="F26B43"/>
          </p15:clr>
        </p15:guide>
        <p15:guide id="17" pos="4997" userDrawn="1">
          <p15:clr>
            <a:srgbClr val="F26B43"/>
          </p15:clr>
        </p15:guide>
        <p15:guide id="18" pos="5120" userDrawn="1">
          <p15:clr>
            <a:srgbClr val="F26B43"/>
          </p15:clr>
        </p15:guide>
        <p15:guide id="19" pos="5580" userDrawn="1">
          <p15:clr>
            <a:srgbClr val="F26B43"/>
          </p15:clr>
        </p15:guide>
        <p15:guide id="20" pos="6183" userDrawn="1">
          <p15:clr>
            <a:srgbClr val="F26B43"/>
          </p15:clr>
        </p15:guide>
        <p15:guide id="21" pos="5723" userDrawn="1">
          <p15:clr>
            <a:srgbClr val="F26B43"/>
          </p15:clr>
        </p15:guide>
        <p15:guide id="22" pos="6329" userDrawn="1">
          <p15:clr>
            <a:srgbClr val="F26B43"/>
          </p15:clr>
        </p15:guide>
        <p15:guide id="23" pos="6788" userDrawn="1">
          <p15:clr>
            <a:srgbClr val="F26B43"/>
          </p15:clr>
        </p15:guide>
        <p15:guide id="24" pos="6932" userDrawn="1">
          <p15:clr>
            <a:srgbClr val="F26B43"/>
          </p15:clr>
        </p15:guide>
        <p15:guide id="25" pos="7392" userDrawn="1">
          <p15:clr>
            <a:srgbClr val="F26B43"/>
          </p15:clr>
        </p15:guide>
        <p15:guide id="26" orient="horz" pos="792" userDrawn="1">
          <p15:clr>
            <a:srgbClr val="F26B43"/>
          </p15:clr>
        </p15:guide>
        <p15:guide id="27" orient="horz" pos="938" userDrawn="1">
          <p15:clr>
            <a:srgbClr val="F26B43"/>
          </p15:clr>
        </p15:guide>
        <p15:guide id="28" orient="horz" pos="1442" userDrawn="1">
          <p15:clr>
            <a:srgbClr val="F26B43"/>
          </p15:clr>
        </p15:guide>
        <p15:guide id="29" orient="horz" pos="1588" userDrawn="1">
          <p15:clr>
            <a:srgbClr val="F26B43"/>
          </p15:clr>
        </p15:guide>
        <p15:guide id="30" orient="horz" pos="2242" userDrawn="1">
          <p15:clr>
            <a:srgbClr val="F26B43"/>
          </p15:clr>
        </p15:guide>
        <p15:guide id="31" orient="horz" pos="2090" userDrawn="1">
          <p15:clr>
            <a:srgbClr val="F26B43"/>
          </p15:clr>
        </p15:guide>
        <p15:guide id="32" orient="horz" pos="2734" userDrawn="1">
          <p15:clr>
            <a:srgbClr val="F26B43"/>
          </p15:clr>
        </p15:guide>
        <p15:guide id="33" orient="horz" pos="2880" userDrawn="1">
          <p15:clr>
            <a:srgbClr val="F26B43"/>
          </p15:clr>
        </p15:guide>
        <p15:guide id="34" orient="horz" pos="3382" userDrawn="1">
          <p15:clr>
            <a:srgbClr val="F26B43"/>
          </p15:clr>
        </p15:guide>
        <p15:guide id="35" orient="horz" pos="3526" userDrawn="1">
          <p15:clr>
            <a:srgbClr val="F26B43"/>
          </p15:clr>
        </p15:guide>
        <p15:guide id="36" orient="horz" pos="403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gif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Relationship Id="rId6" Type="http://schemas.openxmlformats.org/officeDocument/2006/relationships/image" Target="../media/image17.jpe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Relationship Id="rId6" Type="http://schemas.openxmlformats.org/officeDocument/2006/relationships/image" Target="../media/image17.jpe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Relationship Id="rId6" Type="http://schemas.openxmlformats.org/officeDocument/2006/relationships/image" Target="../media/image17.jpe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A3B442-D5CF-FC42-9FAE-83AE17311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2345256"/>
            <a:ext cx="4795888" cy="654153"/>
          </a:xfrm>
        </p:spPr>
        <p:txBody>
          <a:bodyPr/>
          <a:lstStyle/>
          <a:p>
            <a:r>
              <a:rPr lang="nb-NO" dirty="0"/>
              <a:t>Pexip </a:t>
            </a:r>
            <a:r>
              <a:rPr lang="en-GB" dirty="0"/>
              <a:t>Infinity</a:t>
            </a:r>
            <a:r>
              <a:rPr lang="nb-NO" dirty="0"/>
              <a:t> CTE</a:t>
            </a:r>
            <a:endParaRPr lang="en-NO" dirty="0"/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1FDC37C4-C006-403A-A20D-DCE4EB7F749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72200" y="9162"/>
            <a:ext cx="5943599" cy="6839676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7969E1-BD4A-814A-9050-42B7A9855F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4965" y="3305889"/>
            <a:ext cx="4802238" cy="789960"/>
          </a:xfrm>
        </p:spPr>
        <p:txBody>
          <a:bodyPr/>
          <a:lstStyle/>
          <a:p>
            <a:r>
              <a:rPr lang="nb-NO" dirty="0" err="1"/>
              <a:t>Self</a:t>
            </a:r>
            <a:r>
              <a:rPr lang="nb-NO" dirty="0"/>
              <a:t> </a:t>
            </a:r>
            <a:r>
              <a:rPr lang="nb-NO" dirty="0" err="1"/>
              <a:t>paced</a:t>
            </a:r>
            <a:r>
              <a:rPr lang="nb-NO" dirty="0"/>
              <a:t> e-</a:t>
            </a:r>
            <a:r>
              <a:rPr lang="nb-NO" dirty="0" err="1"/>
              <a:t>learning</a:t>
            </a:r>
            <a:endParaRPr lang="nb-NO" dirty="0"/>
          </a:p>
          <a:p>
            <a:endParaRPr lang="nb-NO" dirty="0"/>
          </a:p>
          <a:p>
            <a:r>
              <a:rPr lang="en-GB" dirty="0"/>
              <a:t>Duration</a:t>
            </a:r>
            <a:r>
              <a:rPr lang="nb-NO" dirty="0"/>
              <a:t> – 5 </a:t>
            </a:r>
            <a:r>
              <a:rPr lang="nb-NO" dirty="0" err="1"/>
              <a:t>hours</a:t>
            </a:r>
            <a:endParaRPr lang="en-GB" dirty="0"/>
          </a:p>
        </p:txBody>
      </p:sp>
      <p:pic>
        <p:nvPicPr>
          <p:cNvPr id="10" name="Picture 9" descr="A picture containing text, blackboard, night sky&#10;&#10;Description automatically generated">
            <a:extLst>
              <a:ext uri="{FF2B5EF4-FFF2-40B4-BE49-F238E27FC236}">
                <a16:creationId xmlns:a16="http://schemas.microsoft.com/office/drawing/2014/main" id="{8C4561A4-6E0E-49EE-92BC-AC12479E5A2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093" y="5371708"/>
            <a:ext cx="1486292" cy="1486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6972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4F4E0E3D-5F24-4F8F-BF6B-EB636C704846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63" r="25063"/>
          <a:stretch/>
        </p:blipFill>
        <p:spPr>
          <a:xfrm>
            <a:off x="6096000" y="0"/>
            <a:ext cx="6096000" cy="68580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E5C59B31-E7A4-4EA2-AC3C-3AEDB0769D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9119" y="395774"/>
            <a:ext cx="5548038" cy="861774"/>
          </a:xfrm>
        </p:spPr>
        <p:txBody>
          <a:bodyPr/>
          <a:lstStyle/>
          <a:p>
            <a:r>
              <a:rPr lang="nb-NO" sz="2800" dirty="0"/>
              <a:t>CTE Level 1 Technical Training</a:t>
            </a:r>
            <a:br>
              <a:rPr lang="nb-NO" sz="2800" dirty="0"/>
            </a:br>
            <a:endParaRPr lang="en-GB" sz="28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32297A-FE4D-442D-8743-70DE5264B0A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027" y="943838"/>
            <a:ext cx="5842823" cy="5688737"/>
          </a:xfrm>
        </p:spPr>
        <p:txBody>
          <a:bodyPr/>
          <a:lstStyle/>
          <a:p>
            <a:pPr algn="l"/>
            <a:r>
              <a:rPr lang="en-GB" sz="1400" b="0" i="0" dirty="0">
                <a:solidFill>
                  <a:srgbClr val="72D4DB"/>
                </a:solidFill>
                <a:effectLst/>
                <a:latin typeface="Helvetica Neue"/>
              </a:rPr>
              <a:t>Course outlin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chemeClr val="bg1"/>
                </a:solidFill>
                <a:effectLst/>
                <a:latin typeface="Helvetica Neue"/>
              </a:rPr>
              <a:t>Theoretical technical overview of Implementing Pexip Infinity</a:t>
            </a:r>
          </a:p>
          <a:p>
            <a:pPr algn="l"/>
            <a:endParaRPr lang="en-GB" sz="1400" b="0" i="0" dirty="0">
              <a:solidFill>
                <a:schemeClr val="bg1"/>
              </a:solidFill>
              <a:effectLst/>
              <a:latin typeface="Helvetica Neue"/>
            </a:endParaRPr>
          </a:p>
          <a:p>
            <a:pPr algn="l"/>
            <a:r>
              <a:rPr lang="en-GB" sz="1400" b="0" i="0" dirty="0">
                <a:solidFill>
                  <a:srgbClr val="72D4DB"/>
                </a:solidFill>
                <a:effectLst/>
                <a:latin typeface="Helvetica Neue"/>
              </a:rPr>
              <a:t>Course objective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chemeClr val="bg1"/>
                </a:solidFill>
                <a:effectLst/>
                <a:latin typeface="Helvetica Neue"/>
              </a:rPr>
              <a:t> Identify and relate Core AV and Networking technologies within the fundamentals requirements of a Pexip Infinity deployment. 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chemeClr val="bg1"/>
                </a:solidFill>
                <a:effectLst/>
                <a:latin typeface="Helvetica Neue"/>
              </a:rPr>
              <a:t> Identify and define system architecture requirements for a Pexip self-hosted Infinity deployment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chemeClr val="bg1"/>
                </a:solidFill>
                <a:effectLst/>
                <a:latin typeface="Helvetica Neue"/>
              </a:rPr>
              <a:t> Locate and identify technical documentation on docs.pexip.com to support the planning and installation of a Pexip self-hosted Infinity deployment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GB" sz="1400" dirty="0">
              <a:latin typeface="Helvetica Neue"/>
            </a:endParaRPr>
          </a:p>
          <a:p>
            <a:pPr algn="l"/>
            <a:r>
              <a:rPr lang="en-GB" sz="1400" b="0" i="0" dirty="0">
                <a:solidFill>
                  <a:srgbClr val="72D4DB"/>
                </a:solidFill>
                <a:effectLst/>
                <a:latin typeface="Helvetica Neue"/>
              </a:rPr>
              <a:t>Who should attend?</a:t>
            </a:r>
          </a:p>
          <a:p>
            <a:pPr algn="l"/>
            <a:r>
              <a:rPr lang="en-GB" sz="1400" b="0" i="0" dirty="0">
                <a:effectLst/>
                <a:latin typeface="Helvetica Neue"/>
              </a:rPr>
              <a:t>Video Support Engineers</a:t>
            </a:r>
          </a:p>
          <a:p>
            <a:pPr algn="l"/>
            <a:r>
              <a:rPr lang="en-GB" sz="1400" b="0" i="0" dirty="0">
                <a:effectLst/>
                <a:latin typeface="Helvetica Neue"/>
              </a:rPr>
              <a:t>Sales Engineers/Solution Architects</a:t>
            </a:r>
          </a:p>
          <a:p>
            <a:pPr algn="l"/>
            <a:r>
              <a:rPr lang="en-GB" sz="1400" b="0" i="0" dirty="0">
                <a:effectLst/>
                <a:latin typeface="Helvetica Neue"/>
              </a:rPr>
              <a:t>Video Systems Engineers</a:t>
            </a:r>
          </a:p>
          <a:p>
            <a:pPr algn="l"/>
            <a:r>
              <a:rPr lang="en-GB" sz="1400" b="0" i="0" dirty="0">
                <a:effectLst/>
                <a:latin typeface="Helvetica Neue"/>
              </a:rPr>
              <a:t>Video System Administrators</a:t>
            </a:r>
          </a:p>
          <a:p>
            <a:pPr algn="l"/>
            <a:r>
              <a:rPr lang="en-GB" sz="1400" b="0" i="0" dirty="0">
                <a:effectLst/>
                <a:latin typeface="Helvetica Neue"/>
              </a:rPr>
              <a:t>Channel Partners / Resellers</a:t>
            </a:r>
          </a:p>
          <a:p>
            <a:pPr algn="l"/>
            <a:endParaRPr lang="en-GB" sz="1400" b="0" i="0" dirty="0">
              <a:effectLst/>
              <a:latin typeface="Helvetica Neue"/>
            </a:endParaRPr>
          </a:p>
          <a:p>
            <a:pPr algn="l"/>
            <a:r>
              <a:rPr lang="en-GB" sz="1400" dirty="0">
                <a:solidFill>
                  <a:srgbClr val="72D4DB"/>
                </a:solidFill>
                <a:latin typeface="Helvetica Neue"/>
              </a:rPr>
              <a:t>Next Steps</a:t>
            </a:r>
          </a:p>
          <a:p>
            <a:r>
              <a:rPr lang="en-GB" sz="1400" dirty="0">
                <a:effectLst/>
                <a:latin typeface="Whyte Book" panose="020B0004050101020103" pitchFamily="34" charset="0"/>
                <a:ea typeface="Times New Roman" panose="02020603050405020304" pitchFamily="18" charset="0"/>
              </a:rPr>
              <a:t>On successful completion of this course the learner will be able to:</a:t>
            </a:r>
            <a:endParaRPr lang="en-GB" sz="14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en-GB" sz="1400" dirty="0">
                <a:effectLst/>
                <a:latin typeface="Whyte Book" panose="020B0004050101020103" pitchFamily="34" charset="0"/>
                <a:ea typeface="Times New Roman" panose="02020603050405020304" pitchFamily="18" charset="0"/>
              </a:rPr>
              <a:t>Proceed onto the CTE Level 2</a:t>
            </a:r>
            <a:endParaRPr lang="en-GB" sz="14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algn="l"/>
            <a:endParaRPr lang="en-GB" sz="1400" dirty="0">
              <a:latin typeface="Helvetica Neue"/>
            </a:endParaRP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96550F-EF6B-4AE8-B14D-756394C912A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575425"/>
            <a:ext cx="2743200" cy="114300"/>
          </a:xfrm>
        </p:spPr>
        <p:txBody>
          <a:bodyPr/>
          <a:lstStyle/>
          <a:p>
            <a:fld id="{AF82C51F-475B-4DE1-B4BE-74973CDCE049}" type="slidenum">
              <a:rPr lang="nb-NO" smtClean="0"/>
              <a:pPr/>
              <a:t>2</a:t>
            </a:fld>
            <a:r>
              <a:rPr lang="nb-NO"/>
              <a:t> </a:t>
            </a:r>
            <a:endParaRPr lang="nb-NO" dirty="0"/>
          </a:p>
        </p:txBody>
      </p:sp>
      <p:pic>
        <p:nvPicPr>
          <p:cNvPr id="15" name="Picture 14" descr="A picture containing shape&#10;&#10;Description automatically generated">
            <a:extLst>
              <a:ext uri="{FF2B5EF4-FFF2-40B4-BE49-F238E27FC236}">
                <a16:creationId xmlns:a16="http://schemas.microsoft.com/office/drawing/2014/main" id="{4F29937D-27B8-4169-95F0-130034BE4C6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1396" y="5493396"/>
            <a:ext cx="1364604" cy="1364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9516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4F4E0E3D-5F24-4F8F-BF6B-EB636C704846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63" r="25063"/>
          <a:stretch/>
        </p:blipFill>
        <p:spPr>
          <a:xfrm>
            <a:off x="6096000" y="0"/>
            <a:ext cx="6096000" cy="68580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E5C59B31-E7A4-4EA2-AC3C-3AEDB0769D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9119" y="395774"/>
            <a:ext cx="5548038" cy="861774"/>
          </a:xfrm>
        </p:spPr>
        <p:txBody>
          <a:bodyPr/>
          <a:lstStyle/>
          <a:p>
            <a:r>
              <a:rPr lang="nb-NO" sz="2800" dirty="0"/>
              <a:t>CTE Level 1 Technical Training</a:t>
            </a:r>
            <a:br>
              <a:rPr lang="nb-NO" sz="2800" dirty="0"/>
            </a:br>
            <a:endParaRPr lang="en-GB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96550F-EF6B-4AE8-B14D-756394C912A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575425"/>
            <a:ext cx="2743200" cy="114300"/>
          </a:xfrm>
        </p:spPr>
        <p:txBody>
          <a:bodyPr/>
          <a:lstStyle/>
          <a:p>
            <a:fld id="{AF82C51F-475B-4DE1-B4BE-74973CDCE049}" type="slidenum">
              <a:rPr lang="nb-NO" smtClean="0"/>
              <a:pPr/>
              <a:t>3</a:t>
            </a:fld>
            <a:r>
              <a:rPr lang="nb-NO"/>
              <a:t> </a:t>
            </a:r>
            <a:endParaRPr lang="nb-NO" dirty="0"/>
          </a:p>
        </p:txBody>
      </p:sp>
      <p:pic>
        <p:nvPicPr>
          <p:cNvPr id="15" name="Picture 14" descr="A picture containing shape&#10;&#10;Description automatically generated">
            <a:extLst>
              <a:ext uri="{FF2B5EF4-FFF2-40B4-BE49-F238E27FC236}">
                <a16:creationId xmlns:a16="http://schemas.microsoft.com/office/drawing/2014/main" id="{4F29937D-27B8-4169-95F0-130034BE4C6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1396" y="5493396"/>
            <a:ext cx="1364604" cy="1364604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09D5C9-4AE8-42D4-968E-FAC8C66A78D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2481" y="721298"/>
            <a:ext cx="4817165" cy="5719514"/>
          </a:xfrm>
        </p:spPr>
        <p:txBody>
          <a:bodyPr/>
          <a:lstStyle/>
          <a:p>
            <a:pPr algn="l"/>
            <a:r>
              <a:rPr lang="en-GB" sz="1400" dirty="0">
                <a:solidFill>
                  <a:srgbClr val="72D4DB"/>
                </a:solidFill>
              </a:rPr>
              <a:t>Prerequisi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Cisco CCNA level / Microsoft MCSE</a:t>
            </a:r>
          </a:p>
          <a:p>
            <a:pPr algn="l"/>
            <a:r>
              <a:rPr lang="en-GB" sz="1400" dirty="0">
                <a:solidFill>
                  <a:srgbClr val="72D4DB"/>
                </a:solidFill>
              </a:rPr>
              <a:t>What’s in the box?</a:t>
            </a:r>
          </a:p>
          <a:p>
            <a:pPr algn="l"/>
            <a:r>
              <a:rPr lang="en-GB" sz="1400" dirty="0"/>
              <a:t>The Certified Technology Expert Level 1 is self-paced theoretical training delivered in a series of e-learning video modules and assessments. </a:t>
            </a:r>
          </a:p>
          <a:p>
            <a:pPr algn="l"/>
            <a:r>
              <a:rPr lang="en-GB" sz="1400" dirty="0"/>
              <a:t>Working at your own pace, you will gain an insight into applying core technical principles to planning, deploying and configuring a Pexip Infinity platform, with an high-level overview of integrating Infinity with other networked systems. The Level 1 is mandatory for those looking to support / sell Pexip Self hosted Infinity Solution. Level 1 is designed to prepare you for the practical live lab tasks which form part of the CTE Level 2.</a:t>
            </a:r>
          </a:p>
          <a:p>
            <a:pPr algn="l"/>
            <a:endParaRPr lang="en-GB" sz="1400" dirty="0">
              <a:solidFill>
                <a:schemeClr val="bg1"/>
              </a:solidFill>
            </a:endParaRPr>
          </a:p>
          <a:p>
            <a:pPr algn="l"/>
            <a:r>
              <a:rPr lang="en-GB" sz="1400" dirty="0">
                <a:solidFill>
                  <a:srgbClr val="72D4DB"/>
                </a:solidFill>
              </a:rPr>
              <a:t>This is a technical course and we expect users to have a high level of IT experience and to be familiar with:</a:t>
            </a:r>
            <a:endParaRPr lang="en-GB" sz="1400" dirty="0">
              <a:solidFill>
                <a:schemeClr val="bg1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Video Conferencing /Collaboration systems and solution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IP networks /Firewalls /DNS /Certificates /Servers &amp; Virtualisation /SIP H.323 protocols /</a:t>
            </a:r>
            <a:r>
              <a:rPr lang="en-GB" sz="1200" dirty="0" err="1">
                <a:solidFill>
                  <a:schemeClr val="bg1"/>
                </a:solidFill>
              </a:rPr>
              <a:t>RegEx</a:t>
            </a:r>
            <a:r>
              <a:rPr lang="en-GB" sz="1200" dirty="0">
                <a:solidFill>
                  <a:schemeClr val="bg1"/>
                </a:solidFill>
              </a:rPr>
              <a:t>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VMware </a:t>
            </a:r>
            <a:r>
              <a:rPr lang="en-GB" sz="1200" dirty="0" err="1">
                <a:solidFill>
                  <a:schemeClr val="bg1"/>
                </a:solidFill>
              </a:rPr>
              <a:t>vCentre</a:t>
            </a:r>
            <a:r>
              <a:rPr lang="en-GB" sz="1200" dirty="0">
                <a:solidFill>
                  <a:schemeClr val="bg1"/>
                </a:solidFill>
              </a:rPr>
              <a:t> / </a:t>
            </a:r>
            <a:r>
              <a:rPr lang="en-GB" sz="1200" dirty="0" err="1">
                <a:solidFill>
                  <a:schemeClr val="bg1"/>
                </a:solidFill>
              </a:rPr>
              <a:t>ESXi</a:t>
            </a:r>
            <a:r>
              <a:rPr lang="en-GB" sz="1200" dirty="0">
                <a:solidFill>
                  <a:schemeClr val="bg1"/>
                </a:solidFill>
              </a:rPr>
              <a:t> hypervisor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Microsoft Windows Server / Active Directory (LDAP), AD Certificate Services, </a:t>
            </a:r>
            <a:r>
              <a:rPr lang="en-GB" sz="1200" dirty="0" err="1">
                <a:solidFill>
                  <a:schemeClr val="bg1"/>
                </a:solidFill>
              </a:rPr>
              <a:t>SfB</a:t>
            </a:r>
            <a:r>
              <a:rPr lang="en-GB" sz="1200" dirty="0">
                <a:solidFill>
                  <a:schemeClr val="bg1"/>
                </a:solidFill>
              </a:rPr>
              <a:t> &amp; MS Team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Microsoft Azure and Google Cloud service platform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Remote administration of systems is via RDP and SSH terminals.</a:t>
            </a:r>
            <a:endParaRPr lang="en-GB" sz="1200" dirty="0"/>
          </a:p>
          <a:p>
            <a:endParaRPr lang="en-GB" dirty="0"/>
          </a:p>
        </p:txBody>
      </p:sp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120A28A4-C0C6-49D4-8F32-F5984C82A05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1396" y="1118187"/>
            <a:ext cx="414527" cy="414527"/>
          </a:xfrm>
          <a:prstGeom prst="rect">
            <a:avLst/>
          </a:prstGeom>
        </p:spPr>
      </p:pic>
      <p:pic>
        <p:nvPicPr>
          <p:cNvPr id="22" name="Picture 21" descr="Diagram&#10;&#10;Description automatically generated">
            <a:extLst>
              <a:ext uri="{FF2B5EF4-FFF2-40B4-BE49-F238E27FC236}">
                <a16:creationId xmlns:a16="http://schemas.microsoft.com/office/drawing/2014/main" id="{E002BCC6-ECF3-4127-B4C6-C8D7AC53355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5324" y="1117355"/>
            <a:ext cx="414528" cy="411088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546CA40-40A7-40CE-9633-26E67A7F7F98}"/>
              </a:ext>
            </a:extLst>
          </p:cNvPr>
          <p:cNvCxnSpPr/>
          <p:nvPr/>
        </p:nvCxnSpPr>
        <p:spPr>
          <a:xfrm flipH="1">
            <a:off x="5145923" y="1296849"/>
            <a:ext cx="338864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93711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A209F58-C032-4CF9-8385-380915814F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1" imgH="631" progId="TCLayout.ActiveDocument.1">
                  <p:embed/>
                </p:oleObj>
              </mc:Choice>
              <mc:Fallback>
                <p:oleObj name="think-cell Slide" r:id="rId3" imgW="631" imgH="6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A209F58-C032-4CF9-8385-380915814F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778854-8EE7-4A45-8FF7-3F49E592B6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Watch then tes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4884C49-38CD-4FF1-BD06-CB5C6970DF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654153"/>
          </a:xfrm>
        </p:spPr>
        <p:txBody>
          <a:bodyPr/>
          <a:lstStyle/>
          <a:p>
            <a:r>
              <a:rPr lang="en-US" dirty="0"/>
              <a:t>Program overview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A3C4D8-3A4E-4051-B897-1396D581AF0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4</a:t>
            </a:fld>
            <a:endParaRPr lang="nb-NO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AC07F94-77E0-4907-A69B-0E51D26D27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0947" y="1120325"/>
            <a:ext cx="4483281" cy="1605568"/>
          </a:xfrm>
        </p:spPr>
        <p:txBody>
          <a:bodyPr/>
          <a:lstStyle/>
          <a:p>
            <a:r>
              <a:rPr lang="en-US" dirty="0">
                <a:solidFill>
                  <a:srgbClr val="72D4DB"/>
                </a:solidFill>
              </a:rPr>
              <a:t>Modules</a:t>
            </a:r>
          </a:p>
          <a:p>
            <a:pPr marL="179388" lvl="1" indent="0">
              <a:buNone/>
            </a:pPr>
            <a:endParaRPr lang="en-US" b="1" dirty="0">
              <a:solidFill>
                <a:srgbClr val="72D4DB"/>
              </a:solidFill>
            </a:endParaRPr>
          </a:p>
          <a:p>
            <a:pPr marL="179388" lvl="1" indent="0">
              <a:buNone/>
            </a:pPr>
            <a:endParaRPr lang="en-US" b="1" dirty="0">
              <a:solidFill>
                <a:srgbClr val="72D4DB"/>
              </a:solidFill>
            </a:endParaRPr>
          </a:p>
          <a:p>
            <a:pPr marL="179388" lvl="1" indent="0">
              <a:buNone/>
            </a:pPr>
            <a:endParaRPr lang="en-US" b="1" dirty="0">
              <a:solidFill>
                <a:srgbClr val="72D4DB"/>
              </a:solidFill>
            </a:endParaRPr>
          </a:p>
          <a:p>
            <a:pPr marL="179388" lvl="1" indent="0">
              <a:buNone/>
            </a:pPr>
            <a:endParaRPr lang="en-US" b="1" dirty="0">
              <a:solidFill>
                <a:srgbClr val="72D4DB"/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9C7706D-0FA0-422A-AA15-6BB6E8EB69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pPr marL="0" indent="0">
              <a:buNone/>
            </a:pPr>
            <a:endParaRPr lang="en-US" b="1" dirty="0">
              <a:solidFill>
                <a:srgbClr val="72D4DB"/>
              </a:solidFill>
            </a:endParaRPr>
          </a:p>
          <a:p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96E5F21-CE0F-4D28-8EDC-751264053F3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29810" y="5090927"/>
            <a:ext cx="1766190" cy="1766190"/>
          </a:xfrm>
          <a:prstGeom prst="rect">
            <a:avLst/>
          </a:prstGeom>
        </p:spPr>
      </p:pic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AACD3B8A-4C11-43A3-8627-D69B5F4E86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866806"/>
              </p:ext>
            </p:extLst>
          </p:nvPr>
        </p:nvGraphicFramePr>
        <p:xfrm>
          <a:off x="342447" y="1596549"/>
          <a:ext cx="5601153" cy="403661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906227">
                  <a:extLst>
                    <a:ext uri="{9D8B030D-6E8A-4147-A177-3AD203B41FA5}">
                      <a16:colId xmlns:a16="http://schemas.microsoft.com/office/drawing/2014/main" val="1288052489"/>
                    </a:ext>
                  </a:extLst>
                </a:gridCol>
                <a:gridCol w="3694926">
                  <a:extLst>
                    <a:ext uri="{9D8B030D-6E8A-4147-A177-3AD203B41FA5}">
                      <a16:colId xmlns:a16="http://schemas.microsoft.com/office/drawing/2014/main" val="138138328"/>
                    </a:ext>
                  </a:extLst>
                </a:gridCol>
              </a:tblGrid>
              <a:tr h="851452">
                <a:tc>
                  <a:txBody>
                    <a:bodyPr/>
                    <a:lstStyle/>
                    <a:p>
                      <a:pPr fontAlgn="base"/>
                      <a:r>
                        <a:rPr lang="en-GB" sz="1100" b="1" kern="1200" dirty="0">
                          <a:solidFill>
                            <a:srgbClr val="72D4DB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o be taken first</a:t>
                      </a:r>
                    </a:p>
                    <a:p>
                      <a:pPr fontAlgn="base"/>
                      <a:r>
                        <a:rPr lang="en-GB" sz="1100" dirty="0">
                          <a:effectLst/>
                          <a:latin typeface="+mj-lt"/>
                        </a:rPr>
                        <a:t>AV Networking Assessment</a:t>
                      </a:r>
                    </a:p>
                    <a:p>
                      <a:pPr fontAlgn="base"/>
                      <a:r>
                        <a:rPr lang="en-GB" sz="1100" dirty="0">
                          <a:effectLst/>
                          <a:latin typeface="+mj-lt"/>
                        </a:rPr>
                        <a:t> </a:t>
                      </a:r>
                      <a:endParaRPr lang="en-GB" sz="1100" dirty="0">
                        <a:solidFill>
                          <a:srgbClr val="72D4DB"/>
                        </a:solidFill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50006" marR="50006" marT="0" marB="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100" dirty="0">
                          <a:effectLst/>
                          <a:latin typeface="+mj-lt"/>
                        </a:rPr>
                        <a:t> </a:t>
                      </a:r>
                      <a:endParaRPr lang="en-GB" sz="1100" dirty="0">
                        <a:effectLst/>
                        <a:latin typeface="+mj-lt"/>
                      </a:endParaRPr>
                    </a:p>
                    <a:p>
                      <a:pPr fontAlgn="base"/>
                      <a:r>
                        <a:rPr lang="en-GB" sz="1100" dirty="0">
                          <a:effectLst/>
                          <a:latin typeface="+mj-lt"/>
                        </a:rPr>
                        <a:t>3 part baseline assessment module. (17 mins)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  <a:latin typeface="+mj-lt"/>
                        </a:rPr>
                        <a:t>Self Assessment (2 mins)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  <a:latin typeface="+mj-lt"/>
                        </a:rPr>
                        <a:t>General IT Networking warm-up – (5 mins)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  <a:latin typeface="+mj-lt"/>
                        </a:rPr>
                        <a:t>Scenario time. (10 mins)</a:t>
                      </a:r>
                      <a:endParaRPr lang="en-GB" sz="11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50006" marR="50006" marT="0" marB="0" anchor="ctr"/>
                </a:tc>
                <a:extLst>
                  <a:ext uri="{0D108BD9-81ED-4DB2-BD59-A6C34878D82A}">
                    <a16:rowId xmlns:a16="http://schemas.microsoft.com/office/drawing/2014/main" val="1362871603"/>
                  </a:ext>
                </a:extLst>
              </a:tr>
              <a:tr h="611187">
                <a:tc>
                  <a:txBody>
                    <a:bodyPr/>
                    <a:lstStyle/>
                    <a:p>
                      <a:r>
                        <a:rPr lang="en-GB" sz="1100">
                          <a:effectLst/>
                          <a:latin typeface="+mj-lt"/>
                        </a:rPr>
                        <a:t>Pexip Infinity: The Fundamentals</a:t>
                      </a:r>
                      <a:endParaRPr lang="en-GB" sz="110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50006" marR="50006" marT="0" marB="0" anchor="ctr"/>
                </a:tc>
                <a:tc>
                  <a:txBody>
                    <a:bodyPr/>
                    <a:lstStyle/>
                    <a:p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 part module. (9 mins)</a:t>
                      </a:r>
                    </a:p>
                    <a:p>
                      <a:pPr marL="342900" lvl="0" indent="-342900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 distributed enterprise application</a:t>
                      </a:r>
                    </a:p>
                    <a:p>
                      <a:pPr marL="342900" lvl="0" indent="-342900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Examples of a deployment</a:t>
                      </a:r>
                    </a:p>
                    <a:p>
                      <a:pPr marL="342900" lvl="0" indent="-342900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stributed Architecture</a:t>
                      </a:r>
                    </a:p>
                    <a:p>
                      <a:pPr marL="342900" lvl="0" indent="-342900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Assessment – 5 minutes</a:t>
                      </a:r>
                    </a:p>
                  </a:txBody>
                  <a:tcPr marL="50006" marR="50006" marT="0" marB="0" anchor="ctr">
                    <a:solidFill>
                      <a:srgbClr val="0A213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9943018"/>
                  </a:ext>
                </a:extLst>
              </a:tr>
              <a:tr h="2200275">
                <a:tc>
                  <a:txBody>
                    <a:bodyPr/>
                    <a:lstStyle/>
                    <a:p>
                      <a:r>
                        <a:rPr lang="en-GB" sz="1100">
                          <a:effectLst/>
                          <a:latin typeface="+mj-lt"/>
                        </a:rPr>
                        <a:t>Planning a basic installation of Pexip Infinity</a:t>
                      </a:r>
                      <a:endParaRPr lang="en-GB" sz="110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50006" marR="50006" marT="0" marB="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 part module (51 mins)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Planning an installation of Pexip Infinity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Installing the Management node in a VMware environment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ompleting the Management node install wizard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onfiguring System settings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urther Management node configuration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onfiguring System locations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reating a Conferencing node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eploying a conferencing node in VMware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ompleting the deployment of a conferencing node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dditional Conferencing node configuration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10 x Assessments – 50 minutes</a:t>
                      </a:r>
                    </a:p>
                  </a:txBody>
                  <a:tcPr marL="50006" marR="50006" marT="0" marB="0" anchor="ctr">
                    <a:solidFill>
                      <a:srgbClr val="0A213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3320395"/>
                  </a:ext>
                </a:extLst>
              </a:tr>
            </a:tbl>
          </a:graphicData>
        </a:graphic>
      </p:graphicFrame>
      <p:pic>
        <p:nvPicPr>
          <p:cNvPr id="23" name="Picture 22" descr="A picture containing window, floor, indoor, computer&#10;&#10;Description automatically generated">
            <a:extLst>
              <a:ext uri="{FF2B5EF4-FFF2-40B4-BE49-F238E27FC236}">
                <a16:creationId xmlns:a16="http://schemas.microsoft.com/office/drawing/2014/main" id="{36564C66-9D57-4524-AE14-19479EA7B28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4054" y="1824823"/>
            <a:ext cx="5271716" cy="3514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7752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A209F58-C032-4CF9-8385-380915814F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1" imgH="631" progId="TCLayout.ActiveDocument.1">
                  <p:embed/>
                </p:oleObj>
              </mc:Choice>
              <mc:Fallback>
                <p:oleObj name="think-cell Slide" r:id="rId3" imgW="631" imgH="6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A209F58-C032-4CF9-8385-380915814F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778854-8EE7-4A45-8FF7-3F49E592B6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Watch then tes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4884C49-38CD-4FF1-BD06-CB5C6970DF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654153"/>
          </a:xfrm>
        </p:spPr>
        <p:txBody>
          <a:bodyPr/>
          <a:lstStyle/>
          <a:p>
            <a:r>
              <a:rPr lang="en-US" dirty="0"/>
              <a:t>Program overview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A3C4D8-3A4E-4051-B897-1396D581AF0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5</a:t>
            </a:fld>
            <a:endParaRPr lang="nb-NO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AC07F94-77E0-4907-A69B-0E51D26D27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0947" y="1120325"/>
            <a:ext cx="4483281" cy="1605568"/>
          </a:xfrm>
        </p:spPr>
        <p:txBody>
          <a:bodyPr/>
          <a:lstStyle/>
          <a:p>
            <a:r>
              <a:rPr lang="en-US" dirty="0">
                <a:solidFill>
                  <a:srgbClr val="72D4DB"/>
                </a:solidFill>
              </a:rPr>
              <a:t>Modules</a:t>
            </a:r>
          </a:p>
          <a:p>
            <a:pPr marL="179388" lvl="1" indent="0">
              <a:buNone/>
            </a:pPr>
            <a:endParaRPr lang="en-US" b="1" dirty="0">
              <a:solidFill>
                <a:srgbClr val="72D4DB"/>
              </a:solidFill>
            </a:endParaRPr>
          </a:p>
          <a:p>
            <a:pPr marL="179388" lvl="1" indent="0">
              <a:buNone/>
            </a:pPr>
            <a:endParaRPr lang="en-US" b="1" dirty="0">
              <a:solidFill>
                <a:srgbClr val="72D4DB"/>
              </a:solidFill>
            </a:endParaRPr>
          </a:p>
          <a:p>
            <a:pPr marL="179388" lvl="1" indent="0">
              <a:buNone/>
            </a:pPr>
            <a:endParaRPr lang="en-US" b="1" dirty="0">
              <a:solidFill>
                <a:srgbClr val="72D4DB"/>
              </a:solidFill>
            </a:endParaRPr>
          </a:p>
          <a:p>
            <a:pPr marL="179388" lvl="1" indent="0">
              <a:buNone/>
            </a:pPr>
            <a:endParaRPr lang="en-US" b="1" dirty="0">
              <a:solidFill>
                <a:srgbClr val="72D4DB"/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9C7706D-0FA0-422A-AA15-6BB6E8EB69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pPr marL="0" indent="0">
              <a:buNone/>
            </a:pPr>
            <a:endParaRPr lang="en-US" b="1" dirty="0">
              <a:solidFill>
                <a:srgbClr val="72D4DB"/>
              </a:solidFill>
            </a:endParaRPr>
          </a:p>
          <a:p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96E5F21-CE0F-4D28-8EDC-751264053F3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29810" y="5090927"/>
            <a:ext cx="1766190" cy="1766190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64212360-F8E5-4EB5-8AFB-C417CBD26F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3298631"/>
              </p:ext>
            </p:extLst>
          </p:nvPr>
        </p:nvGraphicFramePr>
        <p:xfrm>
          <a:off x="313290" y="1920240"/>
          <a:ext cx="5673770" cy="340853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930941">
                  <a:extLst>
                    <a:ext uri="{9D8B030D-6E8A-4147-A177-3AD203B41FA5}">
                      <a16:colId xmlns:a16="http://schemas.microsoft.com/office/drawing/2014/main" val="320461409"/>
                    </a:ext>
                  </a:extLst>
                </a:gridCol>
                <a:gridCol w="3742829">
                  <a:extLst>
                    <a:ext uri="{9D8B030D-6E8A-4147-A177-3AD203B41FA5}">
                      <a16:colId xmlns:a16="http://schemas.microsoft.com/office/drawing/2014/main" val="923438318"/>
                    </a:ext>
                  </a:extLst>
                </a:gridCol>
              </a:tblGrid>
              <a:tr h="651688">
                <a:tc>
                  <a:txBody>
                    <a:bodyPr/>
                    <a:lstStyle/>
                    <a:p>
                      <a:r>
                        <a:rPr lang="en-GB" sz="1100">
                          <a:effectLst/>
                        </a:rPr>
                        <a:t>How to use the Pexip Infinity Technical Documentation site.</a:t>
                      </a:r>
                      <a:endParaRPr lang="en-GB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GB" sz="1100">
                          <a:effectLst/>
                        </a:rPr>
                        <a:t>1 part module (8 mins)</a:t>
                      </a:r>
                      <a:endParaRPr lang="en-GB" sz="1200">
                        <a:effectLst/>
                      </a:endParaRP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>
                          <a:effectLst/>
                        </a:rPr>
                        <a:t>An introduction to docs.pexip.com</a:t>
                      </a:r>
                      <a:endParaRPr lang="en-GB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878071804"/>
                  </a:ext>
                </a:extLst>
              </a:tr>
              <a:tr h="701718">
                <a:tc>
                  <a:txBody>
                    <a:bodyPr/>
                    <a:lstStyle/>
                    <a:p>
                      <a:r>
                        <a:rPr lang="en-GB" sz="1100">
                          <a:effectLst/>
                        </a:rPr>
                        <a:t>Regex Fundamentals</a:t>
                      </a:r>
                      <a:endParaRPr lang="en-GB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</a:rPr>
                        <a:t>2 part module </a:t>
                      </a:r>
                      <a:r>
                        <a:rPr lang="en-GB" sz="1200" dirty="0">
                          <a:solidFill>
                            <a:schemeClr val="bg1"/>
                          </a:solidFill>
                          <a:effectLst/>
                        </a:rPr>
                        <a:t>(9 mins)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</a:rPr>
                        <a:t>A basic introduction to Regular Expression</a:t>
                      </a:r>
                      <a:endParaRPr lang="en-GB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 err="1">
                          <a:solidFill>
                            <a:schemeClr val="bg1"/>
                          </a:solidFill>
                          <a:effectLst/>
                        </a:rPr>
                        <a:t>RegEx</a:t>
                      </a: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</a:rPr>
                        <a:t> within Infinity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Assessment – 5 minutes</a:t>
                      </a:r>
                      <a:endParaRPr lang="en-GB" sz="120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A213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71179"/>
                  </a:ext>
                </a:extLst>
              </a:tr>
              <a:tr h="701718">
                <a:tc>
                  <a:txBody>
                    <a:bodyPr/>
                    <a:lstStyle/>
                    <a:p>
                      <a:r>
                        <a:rPr lang="en-GB" sz="1100">
                          <a:effectLst/>
                        </a:rPr>
                        <a:t>SIP Signalling Fundamentals </a:t>
                      </a:r>
                      <a:endParaRPr lang="en-GB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</a:rPr>
                        <a:t>1 part module </a:t>
                      </a:r>
                      <a:r>
                        <a:rPr lang="en-GB" sz="1200" dirty="0">
                          <a:solidFill>
                            <a:schemeClr val="bg1"/>
                          </a:solidFill>
                          <a:effectLst/>
                        </a:rPr>
                        <a:t>(14 mins)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</a:rPr>
                        <a:t>A basic introduction to SIP Signalling Fundamentals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Assessment – 5 minutes</a:t>
                      </a:r>
                      <a:endParaRPr lang="en-GB" sz="120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A213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063468"/>
                  </a:ext>
                </a:extLst>
              </a:tr>
              <a:tr h="651688">
                <a:tc>
                  <a:txBody>
                    <a:bodyPr/>
                    <a:lstStyle/>
                    <a:p>
                      <a:r>
                        <a:rPr lang="en-GB" sz="1100" dirty="0">
                          <a:effectLst/>
                        </a:rPr>
                        <a:t>DNS </a:t>
                      </a:r>
                      <a:r>
                        <a:rPr lang="en-GB" sz="1200" dirty="0">
                          <a:effectLst/>
                        </a:rPr>
                        <a:t>within Infinity</a:t>
                      </a:r>
                      <a:endParaRPr lang="en-GB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</a:rPr>
                        <a:t>1 part module </a:t>
                      </a:r>
                      <a:r>
                        <a:rPr lang="en-GB" sz="1200" dirty="0">
                          <a:solidFill>
                            <a:schemeClr val="bg1"/>
                          </a:solidFill>
                          <a:effectLst/>
                        </a:rPr>
                        <a:t>(14 mins)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</a:rPr>
                        <a:t>DNS within Infinity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Assessment – 5 minutes</a:t>
                      </a:r>
                      <a:endParaRPr lang="en-GB" sz="120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A213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5099794"/>
                  </a:ext>
                </a:extLst>
              </a:tr>
              <a:tr h="701718">
                <a:tc>
                  <a:txBody>
                    <a:bodyPr/>
                    <a:lstStyle/>
                    <a:p>
                      <a:r>
                        <a:rPr lang="en-GB" sz="1100">
                          <a:effectLst/>
                        </a:rPr>
                        <a:t>Networking</a:t>
                      </a:r>
                      <a:endParaRPr lang="en-GB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</a:rPr>
                        <a:t>1 part module </a:t>
                      </a:r>
                      <a:r>
                        <a:rPr lang="en-GB" sz="1200" dirty="0">
                          <a:solidFill>
                            <a:schemeClr val="bg1"/>
                          </a:solidFill>
                          <a:effectLst/>
                        </a:rPr>
                        <a:t>(16 minis)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</a:rPr>
                        <a:t>Networking fundamentals for an Infinity deployment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Assessment – 5 minutes</a:t>
                      </a:r>
                      <a:endParaRPr lang="en-GB" sz="120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A213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200822"/>
                  </a:ext>
                </a:extLst>
              </a:tr>
            </a:tbl>
          </a:graphicData>
        </a:graphic>
      </p:graphicFrame>
      <p:pic>
        <p:nvPicPr>
          <p:cNvPr id="14" name="Picture 13" descr="A picture containing window, floor, indoor, computer&#10;&#10;Description automatically generated">
            <a:extLst>
              <a:ext uri="{FF2B5EF4-FFF2-40B4-BE49-F238E27FC236}">
                <a16:creationId xmlns:a16="http://schemas.microsoft.com/office/drawing/2014/main" id="{FFC185F3-7E27-4B08-B6B7-E1B727E6C7F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4054" y="1824823"/>
            <a:ext cx="5271716" cy="3514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1125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A209F58-C032-4CF9-8385-380915814F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1" imgH="631" progId="TCLayout.ActiveDocument.1">
                  <p:embed/>
                </p:oleObj>
              </mc:Choice>
              <mc:Fallback>
                <p:oleObj name="think-cell Slide" r:id="rId3" imgW="631" imgH="6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A209F58-C032-4CF9-8385-380915814F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778854-8EE7-4A45-8FF7-3F49E592B6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Watch then tes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4884C49-38CD-4FF1-BD06-CB5C6970DF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50" y="302592"/>
            <a:ext cx="4795888" cy="654153"/>
          </a:xfrm>
        </p:spPr>
        <p:txBody>
          <a:bodyPr/>
          <a:lstStyle/>
          <a:p>
            <a:r>
              <a:rPr lang="en-US" dirty="0"/>
              <a:t>Program overview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A3C4D8-3A4E-4051-B897-1396D581AF0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F82C51F-475B-4DE1-B4BE-74973CDCE049}" type="slidenum">
              <a:rPr lang="nb-NO" smtClean="0"/>
              <a:pPr/>
              <a:t>6</a:t>
            </a:fld>
            <a:endParaRPr lang="nb-NO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AC07F94-77E0-4907-A69B-0E51D26D27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0947" y="1120325"/>
            <a:ext cx="4483281" cy="1605568"/>
          </a:xfrm>
        </p:spPr>
        <p:txBody>
          <a:bodyPr/>
          <a:lstStyle/>
          <a:p>
            <a:r>
              <a:rPr lang="en-US" dirty="0">
                <a:solidFill>
                  <a:srgbClr val="72D4DB"/>
                </a:solidFill>
              </a:rPr>
              <a:t>Modules</a:t>
            </a:r>
          </a:p>
          <a:p>
            <a:pPr marL="179388" lvl="1" indent="0">
              <a:buNone/>
            </a:pPr>
            <a:endParaRPr lang="en-US" b="1" dirty="0">
              <a:solidFill>
                <a:srgbClr val="72D4DB"/>
              </a:solidFill>
            </a:endParaRPr>
          </a:p>
          <a:p>
            <a:pPr marL="179388" lvl="1" indent="0">
              <a:buNone/>
            </a:pPr>
            <a:endParaRPr lang="en-US" b="1" dirty="0">
              <a:solidFill>
                <a:srgbClr val="72D4DB"/>
              </a:solidFill>
            </a:endParaRPr>
          </a:p>
          <a:p>
            <a:pPr marL="179388" lvl="1" indent="0">
              <a:buNone/>
            </a:pPr>
            <a:endParaRPr lang="en-US" b="1" dirty="0">
              <a:solidFill>
                <a:srgbClr val="72D4DB"/>
              </a:solidFill>
            </a:endParaRPr>
          </a:p>
          <a:p>
            <a:pPr marL="179388" lvl="1" indent="0">
              <a:buNone/>
            </a:pPr>
            <a:endParaRPr lang="en-US" b="1" dirty="0">
              <a:solidFill>
                <a:srgbClr val="72D4DB"/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9C7706D-0FA0-422A-AA15-6BB6E8EB69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pPr marL="0" indent="0">
              <a:buNone/>
            </a:pPr>
            <a:endParaRPr lang="en-US" b="1" dirty="0">
              <a:solidFill>
                <a:srgbClr val="72D4DB"/>
              </a:solidFill>
            </a:endParaRPr>
          </a:p>
          <a:p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96E5F21-CE0F-4D28-8EDC-751264053F3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29810" y="5090927"/>
            <a:ext cx="1766190" cy="1766190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FE0F09CE-DBD9-4AB1-8A3D-54B9BA2B96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464855"/>
              </p:ext>
            </p:extLst>
          </p:nvPr>
        </p:nvGraphicFramePr>
        <p:xfrm>
          <a:off x="390947" y="1852728"/>
          <a:ext cx="5596385" cy="370921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904605">
                  <a:extLst>
                    <a:ext uri="{9D8B030D-6E8A-4147-A177-3AD203B41FA5}">
                      <a16:colId xmlns:a16="http://schemas.microsoft.com/office/drawing/2014/main" val="3444978571"/>
                    </a:ext>
                  </a:extLst>
                </a:gridCol>
                <a:gridCol w="3691780">
                  <a:extLst>
                    <a:ext uri="{9D8B030D-6E8A-4147-A177-3AD203B41FA5}">
                      <a16:colId xmlns:a16="http://schemas.microsoft.com/office/drawing/2014/main" val="1876955684"/>
                    </a:ext>
                  </a:extLst>
                </a:gridCol>
              </a:tblGrid>
              <a:tr h="946410">
                <a:tc>
                  <a:txBody>
                    <a:bodyPr/>
                    <a:lstStyle/>
                    <a:p>
                      <a:r>
                        <a:rPr lang="en-GB" sz="1100">
                          <a:effectLst/>
                        </a:rPr>
                        <a:t>TLS Certificate Fundamentals for Infinity</a:t>
                      </a:r>
                      <a:endParaRPr lang="en-GB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GB" sz="1100" dirty="0">
                          <a:effectLst/>
                        </a:rPr>
                        <a:t>2 part module </a:t>
                      </a:r>
                      <a:r>
                        <a:rPr lang="en-GB" sz="1200" dirty="0">
                          <a:effectLst/>
                        </a:rPr>
                        <a:t>(20 mins)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Intro to Certificates</a:t>
                      </a:r>
                      <a:endParaRPr lang="en-GB" sz="1200" dirty="0">
                        <a:effectLst/>
                      </a:endParaRP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Certificates within Infinity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Assessment – 5 minutes</a:t>
                      </a:r>
                      <a:endParaRPr lang="en-GB" sz="12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349872159"/>
                  </a:ext>
                </a:extLst>
              </a:tr>
              <a:tr h="1245525">
                <a:tc>
                  <a:txBody>
                    <a:bodyPr/>
                    <a:lstStyle/>
                    <a:p>
                      <a:r>
                        <a:rPr lang="en-GB" sz="1100">
                          <a:effectLst/>
                        </a:rPr>
                        <a:t>Data Traffic Flow and Firewall Configuration Fundamentals for Infinity</a:t>
                      </a:r>
                      <a:endParaRPr lang="en-GB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</a:rPr>
                        <a:t>2 part module </a:t>
                      </a:r>
                      <a:r>
                        <a:rPr lang="en-GB" sz="1200" dirty="0">
                          <a:solidFill>
                            <a:schemeClr val="bg1"/>
                          </a:solidFill>
                          <a:effectLst/>
                        </a:rPr>
                        <a:t>(20 mins)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</a:rPr>
                        <a:t>Basic Firewall Configuration</a:t>
                      </a:r>
                      <a:endParaRPr lang="en-GB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</a:rPr>
                        <a:t>Data Traffic and Protocol Flows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Assessment – 5 minutes</a:t>
                      </a:r>
                      <a:endParaRPr lang="en-GB" sz="120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A213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742218"/>
                  </a:ext>
                </a:extLst>
              </a:tr>
              <a:tr h="1517275">
                <a:tc>
                  <a:txBody>
                    <a:bodyPr/>
                    <a:lstStyle/>
                    <a:p>
                      <a:r>
                        <a:rPr lang="en-GB" sz="1100">
                          <a:effectLst/>
                        </a:rPr>
                        <a:t>Virtulisation &amp; Server Design</a:t>
                      </a:r>
                      <a:endParaRPr lang="en-GB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</a:rPr>
                        <a:t>3 part module </a:t>
                      </a:r>
                      <a:r>
                        <a:rPr lang="en-GB" sz="1200" dirty="0">
                          <a:solidFill>
                            <a:schemeClr val="bg1"/>
                          </a:solidFill>
                          <a:effectLst/>
                        </a:rPr>
                        <a:t>(25 mins)</a:t>
                      </a: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</a:rPr>
                        <a:t>Intro to </a:t>
                      </a:r>
                      <a:r>
                        <a:rPr lang="en-GB" sz="1100" dirty="0" err="1">
                          <a:solidFill>
                            <a:schemeClr val="bg1"/>
                          </a:solidFill>
                          <a:effectLst/>
                        </a:rPr>
                        <a:t>Virtulisation</a:t>
                      </a: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</a:rPr>
                        <a:t> &amp; Server Design</a:t>
                      </a:r>
                      <a:endParaRPr lang="en-GB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</a:rPr>
                        <a:t>Resource allocation &amp; Server Design</a:t>
                      </a:r>
                      <a:endParaRPr lang="en-GB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</a:rPr>
                        <a:t>NUMA Pinning and </a:t>
                      </a:r>
                      <a:r>
                        <a:rPr lang="en-GB" sz="1100" dirty="0" err="1">
                          <a:solidFill>
                            <a:schemeClr val="bg1"/>
                          </a:solidFill>
                          <a:effectLst/>
                        </a:rPr>
                        <a:t>Vmware</a:t>
                      </a:r>
                      <a:endParaRPr lang="en-GB" sz="11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 fontAlgn="base"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Assessment – 5 minutes</a:t>
                      </a:r>
                      <a:endParaRPr lang="en-GB" sz="120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A213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4088838"/>
                  </a:ext>
                </a:extLst>
              </a:tr>
            </a:tbl>
          </a:graphicData>
        </a:graphic>
      </p:graphicFrame>
      <p:pic>
        <p:nvPicPr>
          <p:cNvPr id="11" name="Picture 10" descr="A picture containing window, floor, indoor, computer&#10;&#10;Description automatically generated">
            <a:extLst>
              <a:ext uri="{FF2B5EF4-FFF2-40B4-BE49-F238E27FC236}">
                <a16:creationId xmlns:a16="http://schemas.microsoft.com/office/drawing/2014/main" id="{B11AC489-2632-4385-85D0-DD1D02D48A5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4054" y="1824823"/>
            <a:ext cx="5271716" cy="3514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1844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3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4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H087iwSA.83OBhbcq8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H087iwSA.83OBhbcq8W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1KL0cZQhiMS7FT.t7p5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RUFevzQHanu4oWsX_T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5pR7LgQJ6ubkcZ7.rV0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JfpYfkRAe8RXMaE8TQr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vGVFEqR_CG7ec0Amwa0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2zzvdkSy298bDHAzjT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OocsovTn6eHhirJnbi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EbR5KiQFy.ntgsydxT9w"/>
</p:tagLst>
</file>

<file path=ppt/theme/theme1.xml><?xml version="1.0" encoding="utf-8"?>
<a:theme xmlns:a="http://schemas.openxmlformats.org/drawingml/2006/main" name="Pexip Master Layout">
  <a:themeElements>
    <a:clrScheme name="Custom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A2136"/>
      </a:accent1>
      <a:accent2>
        <a:srgbClr val="0EBEC7"/>
      </a:accent2>
      <a:accent3>
        <a:srgbClr val="FF7273"/>
      </a:accent3>
      <a:accent4>
        <a:srgbClr val="F7F7F7"/>
      </a:accent4>
      <a:accent5>
        <a:srgbClr val="0EDC86"/>
      </a:accent5>
      <a:accent6>
        <a:srgbClr val="0563C1"/>
      </a:accent6>
      <a:hlink>
        <a:srgbClr val="0563C1"/>
      </a:hlink>
      <a:folHlink>
        <a:srgbClr val="954F72"/>
      </a:folHlink>
    </a:clrScheme>
    <a:fontScheme name="pexip">
      <a:majorFont>
        <a:latin typeface="Whyte Medium"/>
        <a:ea typeface=""/>
        <a:cs typeface=""/>
      </a:majorFont>
      <a:minorFont>
        <a:latin typeface="Whyte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70C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exip-Academy-PPT-Template-example" id="{6F7429AD-7823-45A3-87C6-4F2488727772}" vid="{B0EFD3BB-2BE1-4456-B240-61E38F38057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BBDFB6F5F17064ABFB37E473A76D73F" ma:contentTypeVersion="6" ma:contentTypeDescription="Create a new document." ma:contentTypeScope="" ma:versionID="00c3551fddba93faa79082d2e176b66d">
  <xsd:schema xmlns:xsd="http://www.w3.org/2001/XMLSchema" xmlns:xs="http://www.w3.org/2001/XMLSchema" xmlns:p="http://schemas.microsoft.com/office/2006/metadata/properties" xmlns:ns3="2306f105-3440-4542-92ee-dfd27f81a2cf" xmlns:ns4="294bacea-d7ee-458f-9b0c-6eee85b4befb" targetNamespace="http://schemas.microsoft.com/office/2006/metadata/properties" ma:root="true" ma:fieldsID="1dd374824c60c560209d62caee6ef761" ns3:_="" ns4:_="">
    <xsd:import namespace="2306f105-3440-4542-92ee-dfd27f81a2cf"/>
    <xsd:import namespace="294bacea-d7ee-458f-9b0c-6eee85b4bef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6f105-3440-4542-92ee-dfd27f81a2c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4bacea-d7ee-458f-9b0c-6eee85b4bef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39798A5-4ECA-4654-9F10-CE259C47B0F0}">
  <ds:schemaRefs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schemas.openxmlformats.org/package/2006/metadata/core-properties"/>
    <ds:schemaRef ds:uri="294bacea-d7ee-458f-9b0c-6eee85b4befb"/>
    <ds:schemaRef ds:uri="2306f105-3440-4542-92ee-dfd27f81a2cf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843A36D-6F88-4D34-B52B-362947D8162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2C73F1E-F78F-4356-9B38-A6D8E6AA24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306f105-3440-4542-92ee-dfd27f81a2cf"/>
    <ds:schemaRef ds:uri="294bacea-d7ee-458f-9b0c-6eee85b4bef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exip-Academy-PPT-Template-example</Template>
  <TotalTime>0</TotalTime>
  <Words>686</Words>
  <Application>Microsoft Office PowerPoint</Application>
  <PresentationFormat>Widescreen</PresentationFormat>
  <Paragraphs>123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Times New Roman</vt:lpstr>
      <vt:lpstr>Whyte Medium</vt:lpstr>
      <vt:lpstr>Helvetica Neue</vt:lpstr>
      <vt:lpstr>Symbol</vt:lpstr>
      <vt:lpstr>Whyte Book</vt:lpstr>
      <vt:lpstr>Calibri</vt:lpstr>
      <vt:lpstr>Arial</vt:lpstr>
      <vt:lpstr>Pexip Master Layout</vt:lpstr>
      <vt:lpstr>think-cell Slide</vt:lpstr>
      <vt:lpstr>Pexip Infinity CTE</vt:lpstr>
      <vt:lpstr>CTE Level 1 Technical Training </vt:lpstr>
      <vt:lpstr>CTE Level 1 Technical Training </vt:lpstr>
      <vt:lpstr>Program overview</vt:lpstr>
      <vt:lpstr>Program overview</vt:lpstr>
      <vt:lpstr>Program overview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xip Infinity CTE</dc:title>
  <dc:creator>Martine Mannion</dc:creator>
  <cp:lastModifiedBy>Martine Mannion</cp:lastModifiedBy>
  <cp:revision>14</cp:revision>
  <dcterms:created xsi:type="dcterms:W3CDTF">2021-03-11T17:57:24Z</dcterms:created>
  <dcterms:modified xsi:type="dcterms:W3CDTF">2021-06-29T14:22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BBDFB6F5F17064ABFB37E473A76D73F</vt:lpwstr>
  </property>
</Properties>
</file>